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359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A5C"/>
    <a:srgbClr val="2683C6"/>
    <a:srgbClr val="FF3902"/>
    <a:srgbClr val="2B4871"/>
    <a:srgbClr val="FF8867"/>
    <a:srgbClr val="05BADD"/>
    <a:srgbClr val="FEF1DA"/>
    <a:srgbClr val="FFB404"/>
    <a:srgbClr val="F2F2F2"/>
    <a:srgbClr val="FF800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30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468" y="96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4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73C448E-F1E7-1AAF-02B4-CCDFE06164CF}"/>
              </a:ext>
            </a:extLst>
          </p:cNvPr>
          <p:cNvCxnSpPr/>
          <p:nvPr userDrawn="1"/>
        </p:nvCxnSpPr>
        <p:spPr>
          <a:xfrm>
            <a:off x="419099" y="841797"/>
            <a:ext cx="113433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81626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7.xml"/><Relationship Id="rId7" Type="http://schemas.openxmlformats.org/officeDocument/2006/relationships/oleObject" Target="../embeddings/oleObject3.bin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9.xml"/><Relationship Id="rId4" Type="http://schemas.openxmlformats.org/officeDocument/2006/relationships/tags" Target="../tags/tag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0512022-55C0-EDA6-574F-25C96BAFA1A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think-cell data - do not delete" hidden="1">
            <a:extLst>
              <a:ext uri="{FF2B5EF4-FFF2-40B4-BE49-F238E27FC236}">
                <a16:creationId xmlns:a16="http://schemas.microsoft.com/office/drawing/2014/main" id="{4243BF1B-ACB4-E289-8CC1-4AD21903C28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25" imgH="426" progId="TCLayout.ActiveDocument.1">
                  <p:embed/>
                </p:oleObj>
              </mc:Choice>
              <mc:Fallback>
                <p:oleObj name="think-cell Slide" r:id="rId7" imgW="425" imgH="426" progId="TCLayout.ActiveDocument.1">
                  <p:embed/>
                  <p:pic>
                    <p:nvPicPr>
                      <p:cNvPr id="3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243BF1B-ACB4-E289-8CC1-4AD21903C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7786852-A70F-256D-3BFE-E2E531D50D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x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FD3ABDF-4135-1DDD-AA85-30500BE745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3AC9FEAA-936B-BA78-B04F-7C4AC8B659D5}"/>
              </a:ext>
            </a:extLst>
          </p:cNvPr>
          <p:cNvSpPr/>
          <p:nvPr/>
        </p:nvSpPr>
        <p:spPr>
          <a:xfrm>
            <a:off x="706436" y="1467017"/>
            <a:ext cx="11344112" cy="4153024"/>
          </a:xfrm>
          <a:custGeom>
            <a:avLst/>
            <a:gdLst>
              <a:gd name="connsiteX0" fmla="*/ 0 w 11296892"/>
              <a:gd name="connsiteY0" fmla="*/ 4745620 h 4745620"/>
              <a:gd name="connsiteX1" fmla="*/ 0 w 11296892"/>
              <a:gd name="connsiteY1" fmla="*/ 0 h 4745620"/>
              <a:gd name="connsiteX2" fmla="*/ 11296892 w 11296892"/>
              <a:gd name="connsiteY2" fmla="*/ 0 h 4745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296892" h="4745620">
                <a:moveTo>
                  <a:pt x="0" y="4745620"/>
                </a:moveTo>
                <a:lnTo>
                  <a:pt x="0" y="0"/>
                </a:lnTo>
                <a:lnTo>
                  <a:pt x="11296892" y="0"/>
                </a:lnTo>
              </a:path>
            </a:pathLst>
          </a:custGeom>
          <a:noFill/>
          <a:ln>
            <a:solidFill>
              <a:schemeClr val="accent1"/>
            </a:solidFill>
            <a:head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57AF6449-E1E6-7E6A-72D0-63B42B1C30B7}"/>
              </a:ext>
            </a:extLst>
          </p:cNvPr>
          <p:cNvGrpSpPr/>
          <p:nvPr/>
        </p:nvGrpSpPr>
        <p:grpSpPr>
          <a:xfrm>
            <a:off x="419099" y="1735505"/>
            <a:ext cx="8669338" cy="601760"/>
            <a:chOff x="550862" y="2274766"/>
            <a:chExt cx="8669338" cy="601760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3FA9EC0F-5B75-61F3-FCDE-4BDDE026F4E0}"/>
                </a:ext>
              </a:extLst>
            </p:cNvPr>
            <p:cNvSpPr txBox="1">
              <a:spLocks/>
            </p:cNvSpPr>
            <p:nvPr/>
          </p:nvSpPr>
          <p:spPr>
            <a:xfrm>
              <a:off x="1379614" y="2437147"/>
              <a:ext cx="784058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+mn-ea"/>
                  <a:cs typeface="Arial" panose="020B0604020202020204" pitchFamily="34" charset="0"/>
                </a:rPr>
                <a:t>Insert Text Here</a:t>
              </a:r>
            </a:p>
          </p:txBody>
        </p: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79012F83-2A7B-5E73-097E-3C4916B21FD3}"/>
                </a:ext>
              </a:extLst>
            </p:cNvPr>
            <p:cNvGrpSpPr/>
            <p:nvPr/>
          </p:nvGrpSpPr>
          <p:grpSpPr>
            <a:xfrm>
              <a:off x="550862" y="2274766"/>
              <a:ext cx="603372" cy="601760"/>
              <a:chOff x="454269" y="1828800"/>
              <a:chExt cx="839005" cy="836765"/>
            </a:xfrm>
          </p:grpSpPr>
          <p:sp>
            <p:nvSpPr>
              <p:cNvPr id="10" name="Freeform 48">
                <a:extLst>
                  <a:ext uri="{FF2B5EF4-FFF2-40B4-BE49-F238E27FC236}">
                    <a16:creationId xmlns:a16="http://schemas.microsoft.com/office/drawing/2014/main" id="{FE1951A1-569A-A451-E893-CB17A55E260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4269" y="1828800"/>
                <a:ext cx="839005" cy="836765"/>
              </a:xfrm>
              <a:custGeom>
                <a:avLst/>
                <a:gdLst>
                  <a:gd name="T0" fmla="*/ 151 w 158"/>
                  <a:gd name="T1" fmla="*/ 64 h 158"/>
                  <a:gd name="T2" fmla="*/ 137 w 158"/>
                  <a:gd name="T3" fmla="*/ 60 h 158"/>
                  <a:gd name="T4" fmla="*/ 133 w 158"/>
                  <a:gd name="T5" fmla="*/ 51 h 158"/>
                  <a:gd name="T6" fmla="*/ 141 w 158"/>
                  <a:gd name="T7" fmla="*/ 39 h 158"/>
                  <a:gd name="T8" fmla="*/ 139 w 158"/>
                  <a:gd name="T9" fmla="*/ 26 h 158"/>
                  <a:gd name="T10" fmla="*/ 132 w 158"/>
                  <a:gd name="T11" fmla="*/ 19 h 158"/>
                  <a:gd name="T12" fmla="*/ 119 w 158"/>
                  <a:gd name="T13" fmla="*/ 18 h 158"/>
                  <a:gd name="T14" fmla="*/ 107 w 158"/>
                  <a:gd name="T15" fmla="*/ 25 h 158"/>
                  <a:gd name="T16" fmla="*/ 98 w 158"/>
                  <a:gd name="T17" fmla="*/ 21 h 158"/>
                  <a:gd name="T18" fmla="*/ 95 w 158"/>
                  <a:gd name="T19" fmla="*/ 7 h 158"/>
                  <a:gd name="T20" fmla="*/ 84 w 158"/>
                  <a:gd name="T21" fmla="*/ 0 h 158"/>
                  <a:gd name="T22" fmla="*/ 74 w 158"/>
                  <a:gd name="T23" fmla="*/ 0 h 158"/>
                  <a:gd name="T24" fmla="*/ 64 w 158"/>
                  <a:gd name="T25" fmla="*/ 7 h 158"/>
                  <a:gd name="T26" fmla="*/ 61 w 158"/>
                  <a:gd name="T27" fmla="*/ 21 h 158"/>
                  <a:gd name="T28" fmla="*/ 52 w 158"/>
                  <a:gd name="T29" fmla="*/ 25 h 158"/>
                  <a:gd name="T30" fmla="*/ 40 w 158"/>
                  <a:gd name="T31" fmla="*/ 18 h 158"/>
                  <a:gd name="T32" fmla="*/ 27 w 158"/>
                  <a:gd name="T33" fmla="*/ 19 h 158"/>
                  <a:gd name="T34" fmla="*/ 20 w 158"/>
                  <a:gd name="T35" fmla="*/ 26 h 158"/>
                  <a:gd name="T36" fmla="*/ 18 w 158"/>
                  <a:gd name="T37" fmla="*/ 39 h 158"/>
                  <a:gd name="T38" fmla="*/ 26 w 158"/>
                  <a:gd name="T39" fmla="*/ 51 h 158"/>
                  <a:gd name="T40" fmla="*/ 22 w 158"/>
                  <a:gd name="T41" fmla="*/ 60 h 158"/>
                  <a:gd name="T42" fmla="*/ 8 w 158"/>
                  <a:gd name="T43" fmla="*/ 64 h 158"/>
                  <a:gd name="T44" fmla="*/ 0 w 158"/>
                  <a:gd name="T45" fmla="*/ 74 h 158"/>
                  <a:gd name="T46" fmla="*/ 0 w 158"/>
                  <a:gd name="T47" fmla="*/ 84 h 158"/>
                  <a:gd name="T48" fmla="*/ 8 w 158"/>
                  <a:gd name="T49" fmla="*/ 94 h 158"/>
                  <a:gd name="T50" fmla="*/ 22 w 158"/>
                  <a:gd name="T51" fmla="*/ 98 h 158"/>
                  <a:gd name="T52" fmla="*/ 26 w 158"/>
                  <a:gd name="T53" fmla="*/ 106 h 158"/>
                  <a:gd name="T54" fmla="*/ 18 w 158"/>
                  <a:gd name="T55" fmla="*/ 118 h 158"/>
                  <a:gd name="T56" fmla="*/ 20 w 158"/>
                  <a:gd name="T57" fmla="*/ 131 h 158"/>
                  <a:gd name="T58" fmla="*/ 27 w 158"/>
                  <a:gd name="T59" fmla="*/ 138 h 158"/>
                  <a:gd name="T60" fmla="*/ 40 w 158"/>
                  <a:gd name="T61" fmla="*/ 140 h 158"/>
                  <a:gd name="T62" fmla="*/ 52 w 158"/>
                  <a:gd name="T63" fmla="*/ 133 h 158"/>
                  <a:gd name="T64" fmla="*/ 61 w 158"/>
                  <a:gd name="T65" fmla="*/ 136 h 158"/>
                  <a:gd name="T66" fmla="*/ 64 w 158"/>
                  <a:gd name="T67" fmla="*/ 150 h 158"/>
                  <a:gd name="T68" fmla="*/ 74 w 158"/>
                  <a:gd name="T69" fmla="*/ 158 h 158"/>
                  <a:gd name="T70" fmla="*/ 84 w 158"/>
                  <a:gd name="T71" fmla="*/ 158 h 158"/>
                  <a:gd name="T72" fmla="*/ 95 w 158"/>
                  <a:gd name="T73" fmla="*/ 150 h 158"/>
                  <a:gd name="T74" fmla="*/ 98 w 158"/>
                  <a:gd name="T75" fmla="*/ 136 h 158"/>
                  <a:gd name="T76" fmla="*/ 107 w 158"/>
                  <a:gd name="T77" fmla="*/ 133 h 158"/>
                  <a:gd name="T78" fmla="*/ 119 w 158"/>
                  <a:gd name="T79" fmla="*/ 140 h 158"/>
                  <a:gd name="T80" fmla="*/ 132 w 158"/>
                  <a:gd name="T81" fmla="*/ 138 h 158"/>
                  <a:gd name="T82" fmla="*/ 139 w 158"/>
                  <a:gd name="T83" fmla="*/ 131 h 158"/>
                  <a:gd name="T84" fmla="*/ 141 w 158"/>
                  <a:gd name="T85" fmla="*/ 118 h 158"/>
                  <a:gd name="T86" fmla="*/ 133 w 158"/>
                  <a:gd name="T87" fmla="*/ 106 h 158"/>
                  <a:gd name="T88" fmla="*/ 137 w 158"/>
                  <a:gd name="T89" fmla="*/ 98 h 158"/>
                  <a:gd name="T90" fmla="*/ 151 w 158"/>
                  <a:gd name="T91" fmla="*/ 94 h 158"/>
                  <a:gd name="T92" fmla="*/ 158 w 158"/>
                  <a:gd name="T93" fmla="*/ 84 h 158"/>
                  <a:gd name="T94" fmla="*/ 158 w 158"/>
                  <a:gd name="T95" fmla="*/ 74 h 158"/>
                  <a:gd name="T96" fmla="*/ 151 w 158"/>
                  <a:gd name="T97" fmla="*/ 64 h 158"/>
                  <a:gd name="T98" fmla="*/ 79 w 158"/>
                  <a:gd name="T99" fmla="*/ 127 h 158"/>
                  <a:gd name="T100" fmla="*/ 32 w 158"/>
                  <a:gd name="T101" fmla="*/ 79 h 158"/>
                  <a:gd name="T102" fmla="*/ 79 w 158"/>
                  <a:gd name="T103" fmla="*/ 31 h 158"/>
                  <a:gd name="T104" fmla="*/ 127 w 158"/>
                  <a:gd name="T105" fmla="*/ 79 h 158"/>
                  <a:gd name="T106" fmla="*/ 79 w 158"/>
                  <a:gd name="T107" fmla="*/ 127 h 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58" h="158">
                    <a:moveTo>
                      <a:pt x="151" y="64"/>
                    </a:moveTo>
                    <a:cubicBezTo>
                      <a:pt x="137" y="60"/>
                      <a:pt x="137" y="60"/>
                      <a:pt x="137" y="60"/>
                    </a:cubicBezTo>
                    <a:cubicBezTo>
                      <a:pt x="136" y="57"/>
                      <a:pt x="135" y="54"/>
                      <a:pt x="133" y="51"/>
                    </a:cubicBezTo>
                    <a:cubicBezTo>
                      <a:pt x="141" y="39"/>
                      <a:pt x="141" y="39"/>
                      <a:pt x="141" y="39"/>
                    </a:cubicBezTo>
                    <a:cubicBezTo>
                      <a:pt x="143" y="35"/>
                      <a:pt x="142" y="30"/>
                      <a:pt x="139" y="26"/>
                    </a:cubicBezTo>
                    <a:cubicBezTo>
                      <a:pt x="132" y="19"/>
                      <a:pt x="132" y="19"/>
                      <a:pt x="132" y="19"/>
                    </a:cubicBezTo>
                    <a:cubicBezTo>
                      <a:pt x="129" y="16"/>
                      <a:pt x="123" y="15"/>
                      <a:pt x="119" y="18"/>
                    </a:cubicBezTo>
                    <a:cubicBezTo>
                      <a:pt x="107" y="25"/>
                      <a:pt x="107" y="25"/>
                      <a:pt x="107" y="25"/>
                    </a:cubicBezTo>
                    <a:cubicBezTo>
                      <a:pt x="104" y="23"/>
                      <a:pt x="101" y="22"/>
                      <a:pt x="98" y="21"/>
                    </a:cubicBezTo>
                    <a:cubicBezTo>
                      <a:pt x="95" y="7"/>
                      <a:pt x="95" y="7"/>
                      <a:pt x="95" y="7"/>
                    </a:cubicBezTo>
                    <a:cubicBezTo>
                      <a:pt x="93" y="3"/>
                      <a:pt x="89" y="0"/>
                      <a:pt x="84" y="0"/>
                    </a:cubicBezTo>
                    <a:cubicBezTo>
                      <a:pt x="74" y="0"/>
                      <a:pt x="74" y="0"/>
                      <a:pt x="74" y="0"/>
                    </a:cubicBezTo>
                    <a:cubicBezTo>
                      <a:pt x="70" y="0"/>
                      <a:pt x="66" y="3"/>
                      <a:pt x="64" y="7"/>
                    </a:cubicBezTo>
                    <a:cubicBezTo>
                      <a:pt x="61" y="21"/>
                      <a:pt x="61" y="21"/>
                      <a:pt x="61" y="21"/>
                    </a:cubicBezTo>
                    <a:cubicBezTo>
                      <a:pt x="58" y="22"/>
                      <a:pt x="55" y="23"/>
                      <a:pt x="52" y="25"/>
                    </a:cubicBezTo>
                    <a:cubicBezTo>
                      <a:pt x="40" y="18"/>
                      <a:pt x="40" y="18"/>
                      <a:pt x="40" y="18"/>
                    </a:cubicBezTo>
                    <a:cubicBezTo>
                      <a:pt x="36" y="15"/>
                      <a:pt x="30" y="16"/>
                      <a:pt x="27" y="19"/>
                    </a:cubicBezTo>
                    <a:cubicBezTo>
                      <a:pt x="20" y="26"/>
                      <a:pt x="20" y="26"/>
                      <a:pt x="20" y="26"/>
                    </a:cubicBezTo>
                    <a:cubicBezTo>
                      <a:pt x="17" y="30"/>
                      <a:pt x="16" y="35"/>
                      <a:pt x="18" y="39"/>
                    </a:cubicBezTo>
                    <a:cubicBezTo>
                      <a:pt x="26" y="51"/>
                      <a:pt x="26" y="51"/>
                      <a:pt x="26" y="51"/>
                    </a:cubicBezTo>
                    <a:cubicBezTo>
                      <a:pt x="24" y="54"/>
                      <a:pt x="23" y="57"/>
                      <a:pt x="22" y="60"/>
                    </a:cubicBezTo>
                    <a:cubicBezTo>
                      <a:pt x="8" y="64"/>
                      <a:pt x="8" y="64"/>
                      <a:pt x="8" y="64"/>
                    </a:cubicBezTo>
                    <a:cubicBezTo>
                      <a:pt x="4" y="65"/>
                      <a:pt x="0" y="69"/>
                      <a:pt x="0" y="74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0" y="88"/>
                      <a:pt x="4" y="93"/>
                      <a:pt x="8" y="94"/>
                    </a:cubicBezTo>
                    <a:cubicBezTo>
                      <a:pt x="22" y="98"/>
                      <a:pt x="22" y="98"/>
                      <a:pt x="22" y="98"/>
                    </a:cubicBezTo>
                    <a:cubicBezTo>
                      <a:pt x="23" y="100"/>
                      <a:pt x="24" y="103"/>
                      <a:pt x="26" y="106"/>
                    </a:cubicBezTo>
                    <a:cubicBezTo>
                      <a:pt x="18" y="118"/>
                      <a:pt x="18" y="118"/>
                      <a:pt x="18" y="118"/>
                    </a:cubicBezTo>
                    <a:cubicBezTo>
                      <a:pt x="16" y="122"/>
                      <a:pt x="17" y="128"/>
                      <a:pt x="20" y="131"/>
                    </a:cubicBezTo>
                    <a:cubicBezTo>
                      <a:pt x="27" y="138"/>
                      <a:pt x="27" y="138"/>
                      <a:pt x="27" y="138"/>
                    </a:cubicBezTo>
                    <a:cubicBezTo>
                      <a:pt x="30" y="141"/>
                      <a:pt x="36" y="142"/>
                      <a:pt x="40" y="140"/>
                    </a:cubicBezTo>
                    <a:cubicBezTo>
                      <a:pt x="52" y="133"/>
                      <a:pt x="52" y="133"/>
                      <a:pt x="52" y="133"/>
                    </a:cubicBezTo>
                    <a:cubicBezTo>
                      <a:pt x="55" y="134"/>
                      <a:pt x="58" y="135"/>
                      <a:pt x="61" y="136"/>
                    </a:cubicBezTo>
                    <a:cubicBezTo>
                      <a:pt x="64" y="150"/>
                      <a:pt x="64" y="150"/>
                      <a:pt x="64" y="150"/>
                    </a:cubicBezTo>
                    <a:cubicBezTo>
                      <a:pt x="66" y="154"/>
                      <a:pt x="70" y="158"/>
                      <a:pt x="74" y="158"/>
                    </a:cubicBezTo>
                    <a:cubicBezTo>
                      <a:pt x="84" y="158"/>
                      <a:pt x="84" y="158"/>
                      <a:pt x="84" y="158"/>
                    </a:cubicBezTo>
                    <a:cubicBezTo>
                      <a:pt x="89" y="158"/>
                      <a:pt x="93" y="154"/>
                      <a:pt x="95" y="150"/>
                    </a:cubicBezTo>
                    <a:cubicBezTo>
                      <a:pt x="98" y="136"/>
                      <a:pt x="98" y="136"/>
                      <a:pt x="98" y="136"/>
                    </a:cubicBezTo>
                    <a:cubicBezTo>
                      <a:pt x="101" y="135"/>
                      <a:pt x="104" y="134"/>
                      <a:pt x="107" y="133"/>
                    </a:cubicBezTo>
                    <a:cubicBezTo>
                      <a:pt x="119" y="140"/>
                      <a:pt x="119" y="140"/>
                      <a:pt x="119" y="140"/>
                    </a:cubicBezTo>
                    <a:cubicBezTo>
                      <a:pt x="123" y="142"/>
                      <a:pt x="129" y="141"/>
                      <a:pt x="132" y="138"/>
                    </a:cubicBezTo>
                    <a:cubicBezTo>
                      <a:pt x="139" y="131"/>
                      <a:pt x="139" y="131"/>
                      <a:pt x="139" y="131"/>
                    </a:cubicBezTo>
                    <a:cubicBezTo>
                      <a:pt x="142" y="128"/>
                      <a:pt x="143" y="122"/>
                      <a:pt x="141" y="118"/>
                    </a:cubicBezTo>
                    <a:cubicBezTo>
                      <a:pt x="133" y="106"/>
                      <a:pt x="133" y="106"/>
                      <a:pt x="133" y="106"/>
                    </a:cubicBezTo>
                    <a:cubicBezTo>
                      <a:pt x="135" y="103"/>
                      <a:pt x="136" y="100"/>
                      <a:pt x="137" y="98"/>
                    </a:cubicBezTo>
                    <a:cubicBezTo>
                      <a:pt x="151" y="94"/>
                      <a:pt x="151" y="94"/>
                      <a:pt x="151" y="94"/>
                    </a:cubicBezTo>
                    <a:cubicBezTo>
                      <a:pt x="155" y="93"/>
                      <a:pt x="158" y="88"/>
                      <a:pt x="158" y="84"/>
                    </a:cubicBezTo>
                    <a:cubicBezTo>
                      <a:pt x="158" y="74"/>
                      <a:pt x="158" y="74"/>
                      <a:pt x="158" y="74"/>
                    </a:cubicBezTo>
                    <a:cubicBezTo>
                      <a:pt x="158" y="69"/>
                      <a:pt x="155" y="65"/>
                      <a:pt x="151" y="64"/>
                    </a:cubicBezTo>
                    <a:close/>
                    <a:moveTo>
                      <a:pt x="79" y="127"/>
                    </a:moveTo>
                    <a:cubicBezTo>
                      <a:pt x="53" y="127"/>
                      <a:pt x="32" y="105"/>
                      <a:pt x="32" y="79"/>
                    </a:cubicBezTo>
                    <a:cubicBezTo>
                      <a:pt x="32" y="52"/>
                      <a:pt x="53" y="31"/>
                      <a:pt x="79" y="31"/>
                    </a:cubicBezTo>
                    <a:cubicBezTo>
                      <a:pt x="106" y="31"/>
                      <a:pt x="127" y="52"/>
                      <a:pt x="127" y="79"/>
                    </a:cubicBezTo>
                    <a:cubicBezTo>
                      <a:pt x="127" y="105"/>
                      <a:pt x="106" y="127"/>
                      <a:pt x="79" y="127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92DE76FF-D280-B9B7-7D69-EF3FA019DAEB}"/>
                  </a:ext>
                </a:extLst>
              </p:cNvPr>
              <p:cNvSpPr/>
              <p:nvPr/>
            </p:nvSpPr>
            <p:spPr>
              <a:xfrm>
                <a:off x="604542" y="1977953"/>
                <a:ext cx="538458" cy="538458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sp>
          <p:nvSpPr>
            <p:cNvPr id="9" name="Freeform 99">
              <a:extLst>
                <a:ext uri="{FF2B5EF4-FFF2-40B4-BE49-F238E27FC236}">
                  <a16:creationId xmlns:a16="http://schemas.microsoft.com/office/drawing/2014/main" id="{4A5753D6-852A-42F2-B52C-FC84C5CB5322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741792" y="2365046"/>
              <a:ext cx="345852" cy="305232"/>
            </a:xfrm>
            <a:custGeom>
              <a:avLst/>
              <a:gdLst>
                <a:gd name="T0" fmla="*/ 3040 w 3040"/>
                <a:gd name="T1" fmla="*/ 109 h 2884"/>
                <a:gd name="T2" fmla="*/ 2860 w 3040"/>
                <a:gd name="T3" fmla="*/ 256 h 2884"/>
                <a:gd name="T4" fmla="*/ 2673 w 3040"/>
                <a:gd name="T5" fmla="*/ 428 h 2884"/>
                <a:gd name="T6" fmla="*/ 2479 w 3040"/>
                <a:gd name="T7" fmla="*/ 627 h 2884"/>
                <a:gd name="T8" fmla="*/ 2277 w 3040"/>
                <a:gd name="T9" fmla="*/ 853 h 2884"/>
                <a:gd name="T10" fmla="*/ 2067 w 3040"/>
                <a:gd name="T11" fmla="*/ 1106 h 2884"/>
                <a:gd name="T12" fmla="*/ 1926 w 3040"/>
                <a:gd name="T13" fmla="*/ 1287 h 2884"/>
                <a:gd name="T14" fmla="*/ 1727 w 3040"/>
                <a:gd name="T15" fmla="*/ 1556 h 2884"/>
                <a:gd name="T16" fmla="*/ 1546 w 3040"/>
                <a:gd name="T17" fmla="*/ 1819 h 2884"/>
                <a:gd name="T18" fmla="*/ 1385 w 3040"/>
                <a:gd name="T19" fmla="*/ 2076 h 2884"/>
                <a:gd name="T20" fmla="*/ 1243 w 3040"/>
                <a:gd name="T21" fmla="*/ 2324 h 2884"/>
                <a:gd name="T22" fmla="*/ 1120 w 3040"/>
                <a:gd name="T23" fmla="*/ 2567 h 2884"/>
                <a:gd name="T24" fmla="*/ 865 w 3040"/>
                <a:gd name="T25" fmla="*/ 2741 h 2884"/>
                <a:gd name="T26" fmla="*/ 704 w 3040"/>
                <a:gd name="T27" fmla="*/ 2867 h 2884"/>
                <a:gd name="T28" fmla="*/ 675 w 3040"/>
                <a:gd name="T29" fmla="*/ 2856 h 2884"/>
                <a:gd name="T30" fmla="*/ 603 w 3040"/>
                <a:gd name="T31" fmla="*/ 2655 h 2884"/>
                <a:gd name="T32" fmla="*/ 498 w 3040"/>
                <a:gd name="T33" fmla="*/ 2404 h 2884"/>
                <a:gd name="T34" fmla="*/ 401 w 3040"/>
                <a:gd name="T35" fmla="*/ 2197 h 2884"/>
                <a:gd name="T36" fmla="*/ 311 w 3040"/>
                <a:gd name="T37" fmla="*/ 2034 h 2884"/>
                <a:gd name="T38" fmla="*/ 253 w 3040"/>
                <a:gd name="T39" fmla="*/ 1950 h 2884"/>
                <a:gd name="T40" fmla="*/ 164 w 3040"/>
                <a:gd name="T41" fmla="*/ 1855 h 2884"/>
                <a:gd name="T42" fmla="*/ 69 w 3040"/>
                <a:gd name="T43" fmla="*/ 1786 h 2884"/>
                <a:gd name="T44" fmla="*/ 0 w 3040"/>
                <a:gd name="T45" fmla="*/ 1757 h 2884"/>
                <a:gd name="T46" fmla="*/ 87 w 3040"/>
                <a:gd name="T47" fmla="*/ 1672 h 2884"/>
                <a:gd name="T48" fmla="*/ 172 w 3040"/>
                <a:gd name="T49" fmla="*/ 1605 h 2884"/>
                <a:gd name="T50" fmla="*/ 254 w 3040"/>
                <a:gd name="T51" fmla="*/ 1555 h 2884"/>
                <a:gd name="T52" fmla="*/ 332 w 3040"/>
                <a:gd name="T53" fmla="*/ 1523 h 2884"/>
                <a:gd name="T54" fmla="*/ 409 w 3040"/>
                <a:gd name="T55" fmla="*/ 1508 h 2884"/>
                <a:gd name="T56" fmla="*/ 444 w 3040"/>
                <a:gd name="T57" fmla="*/ 1507 h 2884"/>
                <a:gd name="T58" fmla="*/ 476 w 3040"/>
                <a:gd name="T59" fmla="*/ 1513 h 2884"/>
                <a:gd name="T60" fmla="*/ 543 w 3040"/>
                <a:gd name="T61" fmla="*/ 1551 h 2884"/>
                <a:gd name="T62" fmla="*/ 612 w 3040"/>
                <a:gd name="T63" fmla="*/ 1621 h 2884"/>
                <a:gd name="T64" fmla="*/ 683 w 3040"/>
                <a:gd name="T65" fmla="*/ 1723 h 2884"/>
                <a:gd name="T66" fmla="*/ 757 w 3040"/>
                <a:gd name="T67" fmla="*/ 1858 h 2884"/>
                <a:gd name="T68" fmla="*/ 877 w 3040"/>
                <a:gd name="T69" fmla="*/ 2117 h 2884"/>
                <a:gd name="T70" fmla="*/ 973 w 3040"/>
                <a:gd name="T71" fmla="*/ 1963 h 2884"/>
                <a:gd name="T72" fmla="*/ 1129 w 3040"/>
                <a:gd name="T73" fmla="*/ 1731 h 2884"/>
                <a:gd name="T74" fmla="*/ 1299 w 3040"/>
                <a:gd name="T75" fmla="*/ 1503 h 2884"/>
                <a:gd name="T76" fmla="*/ 1485 w 3040"/>
                <a:gd name="T77" fmla="*/ 1277 h 2884"/>
                <a:gd name="T78" fmla="*/ 1685 w 3040"/>
                <a:gd name="T79" fmla="*/ 1052 h 2884"/>
                <a:gd name="T80" fmla="*/ 1828 w 3040"/>
                <a:gd name="T81" fmla="*/ 904 h 2884"/>
                <a:gd name="T82" fmla="*/ 2045 w 3040"/>
                <a:gd name="T83" fmla="*/ 693 h 2884"/>
                <a:gd name="T84" fmla="*/ 2260 w 3040"/>
                <a:gd name="T85" fmla="*/ 502 h 2884"/>
                <a:gd name="T86" fmla="*/ 2474 w 3040"/>
                <a:gd name="T87" fmla="*/ 328 h 2884"/>
                <a:gd name="T88" fmla="*/ 2685 w 3040"/>
                <a:gd name="T89" fmla="*/ 175 h 2884"/>
                <a:gd name="T90" fmla="*/ 2893 w 3040"/>
                <a:gd name="T91" fmla="*/ 40 h 28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040" h="2884">
                  <a:moveTo>
                    <a:pt x="2963" y="0"/>
                  </a:moveTo>
                  <a:lnTo>
                    <a:pt x="3040" y="109"/>
                  </a:lnTo>
                  <a:lnTo>
                    <a:pt x="3040" y="109"/>
                  </a:lnTo>
                  <a:lnTo>
                    <a:pt x="2981" y="155"/>
                  </a:lnTo>
                  <a:lnTo>
                    <a:pt x="2922" y="203"/>
                  </a:lnTo>
                  <a:lnTo>
                    <a:pt x="2860" y="256"/>
                  </a:lnTo>
                  <a:lnTo>
                    <a:pt x="2799" y="309"/>
                  </a:lnTo>
                  <a:lnTo>
                    <a:pt x="2736" y="367"/>
                  </a:lnTo>
                  <a:lnTo>
                    <a:pt x="2673" y="428"/>
                  </a:lnTo>
                  <a:lnTo>
                    <a:pt x="2610" y="491"/>
                  </a:lnTo>
                  <a:lnTo>
                    <a:pt x="2545" y="557"/>
                  </a:lnTo>
                  <a:lnTo>
                    <a:pt x="2479" y="627"/>
                  </a:lnTo>
                  <a:lnTo>
                    <a:pt x="2413" y="699"/>
                  </a:lnTo>
                  <a:lnTo>
                    <a:pt x="2346" y="775"/>
                  </a:lnTo>
                  <a:lnTo>
                    <a:pt x="2277" y="853"/>
                  </a:lnTo>
                  <a:lnTo>
                    <a:pt x="2209" y="934"/>
                  </a:lnTo>
                  <a:lnTo>
                    <a:pt x="2139" y="1018"/>
                  </a:lnTo>
                  <a:lnTo>
                    <a:pt x="2067" y="1106"/>
                  </a:lnTo>
                  <a:lnTo>
                    <a:pt x="1996" y="1196"/>
                  </a:lnTo>
                  <a:lnTo>
                    <a:pt x="1996" y="1196"/>
                  </a:lnTo>
                  <a:lnTo>
                    <a:pt x="1926" y="1287"/>
                  </a:lnTo>
                  <a:lnTo>
                    <a:pt x="1858" y="1377"/>
                  </a:lnTo>
                  <a:lnTo>
                    <a:pt x="1790" y="1468"/>
                  </a:lnTo>
                  <a:lnTo>
                    <a:pt x="1727" y="1556"/>
                  </a:lnTo>
                  <a:lnTo>
                    <a:pt x="1664" y="1645"/>
                  </a:lnTo>
                  <a:lnTo>
                    <a:pt x="1605" y="1733"/>
                  </a:lnTo>
                  <a:lnTo>
                    <a:pt x="1546" y="1819"/>
                  </a:lnTo>
                  <a:lnTo>
                    <a:pt x="1490" y="1905"/>
                  </a:lnTo>
                  <a:lnTo>
                    <a:pt x="1437" y="1991"/>
                  </a:lnTo>
                  <a:lnTo>
                    <a:pt x="1385" y="2076"/>
                  </a:lnTo>
                  <a:lnTo>
                    <a:pt x="1336" y="2159"/>
                  </a:lnTo>
                  <a:lnTo>
                    <a:pt x="1289" y="2242"/>
                  </a:lnTo>
                  <a:lnTo>
                    <a:pt x="1243" y="2324"/>
                  </a:lnTo>
                  <a:lnTo>
                    <a:pt x="1200" y="2405"/>
                  </a:lnTo>
                  <a:lnTo>
                    <a:pt x="1160" y="2486"/>
                  </a:lnTo>
                  <a:lnTo>
                    <a:pt x="1120" y="2567"/>
                  </a:lnTo>
                  <a:lnTo>
                    <a:pt x="958" y="2676"/>
                  </a:lnTo>
                  <a:lnTo>
                    <a:pt x="958" y="2676"/>
                  </a:lnTo>
                  <a:lnTo>
                    <a:pt x="865" y="2741"/>
                  </a:lnTo>
                  <a:lnTo>
                    <a:pt x="788" y="2798"/>
                  </a:lnTo>
                  <a:lnTo>
                    <a:pt x="728" y="2845"/>
                  </a:lnTo>
                  <a:lnTo>
                    <a:pt x="704" y="2867"/>
                  </a:lnTo>
                  <a:lnTo>
                    <a:pt x="683" y="2884"/>
                  </a:lnTo>
                  <a:lnTo>
                    <a:pt x="683" y="2884"/>
                  </a:lnTo>
                  <a:lnTo>
                    <a:pt x="675" y="2856"/>
                  </a:lnTo>
                  <a:lnTo>
                    <a:pt x="666" y="2825"/>
                  </a:lnTo>
                  <a:lnTo>
                    <a:pt x="639" y="2748"/>
                  </a:lnTo>
                  <a:lnTo>
                    <a:pt x="603" y="2655"/>
                  </a:lnTo>
                  <a:lnTo>
                    <a:pt x="560" y="2546"/>
                  </a:lnTo>
                  <a:lnTo>
                    <a:pt x="498" y="2404"/>
                  </a:lnTo>
                  <a:lnTo>
                    <a:pt x="498" y="2404"/>
                  </a:lnTo>
                  <a:lnTo>
                    <a:pt x="465" y="2330"/>
                  </a:lnTo>
                  <a:lnTo>
                    <a:pt x="433" y="2261"/>
                  </a:lnTo>
                  <a:lnTo>
                    <a:pt x="401" y="2197"/>
                  </a:lnTo>
                  <a:lnTo>
                    <a:pt x="371" y="2137"/>
                  </a:lnTo>
                  <a:lnTo>
                    <a:pt x="340" y="2084"/>
                  </a:lnTo>
                  <a:lnTo>
                    <a:pt x="311" y="2034"/>
                  </a:lnTo>
                  <a:lnTo>
                    <a:pt x="281" y="1991"/>
                  </a:lnTo>
                  <a:lnTo>
                    <a:pt x="253" y="1950"/>
                  </a:lnTo>
                  <a:lnTo>
                    <a:pt x="253" y="1950"/>
                  </a:lnTo>
                  <a:lnTo>
                    <a:pt x="225" y="1915"/>
                  </a:lnTo>
                  <a:lnTo>
                    <a:pt x="195" y="1885"/>
                  </a:lnTo>
                  <a:lnTo>
                    <a:pt x="164" y="1855"/>
                  </a:lnTo>
                  <a:lnTo>
                    <a:pt x="133" y="1829"/>
                  </a:lnTo>
                  <a:lnTo>
                    <a:pt x="101" y="1807"/>
                  </a:lnTo>
                  <a:lnTo>
                    <a:pt x="69" y="1786"/>
                  </a:lnTo>
                  <a:lnTo>
                    <a:pt x="35" y="1770"/>
                  </a:lnTo>
                  <a:lnTo>
                    <a:pt x="0" y="1757"/>
                  </a:lnTo>
                  <a:lnTo>
                    <a:pt x="0" y="1757"/>
                  </a:lnTo>
                  <a:lnTo>
                    <a:pt x="30" y="1726"/>
                  </a:lnTo>
                  <a:lnTo>
                    <a:pt x="59" y="1698"/>
                  </a:lnTo>
                  <a:lnTo>
                    <a:pt x="87" y="1672"/>
                  </a:lnTo>
                  <a:lnTo>
                    <a:pt x="116" y="1646"/>
                  </a:lnTo>
                  <a:lnTo>
                    <a:pt x="144" y="1625"/>
                  </a:lnTo>
                  <a:lnTo>
                    <a:pt x="172" y="1605"/>
                  </a:lnTo>
                  <a:lnTo>
                    <a:pt x="199" y="1586"/>
                  </a:lnTo>
                  <a:lnTo>
                    <a:pt x="227" y="1568"/>
                  </a:lnTo>
                  <a:lnTo>
                    <a:pt x="254" y="1555"/>
                  </a:lnTo>
                  <a:lnTo>
                    <a:pt x="281" y="1542"/>
                  </a:lnTo>
                  <a:lnTo>
                    <a:pt x="307" y="1531"/>
                  </a:lnTo>
                  <a:lnTo>
                    <a:pt x="332" y="1523"/>
                  </a:lnTo>
                  <a:lnTo>
                    <a:pt x="359" y="1516"/>
                  </a:lnTo>
                  <a:lnTo>
                    <a:pt x="385" y="1511"/>
                  </a:lnTo>
                  <a:lnTo>
                    <a:pt x="409" y="1508"/>
                  </a:lnTo>
                  <a:lnTo>
                    <a:pt x="434" y="1507"/>
                  </a:lnTo>
                  <a:lnTo>
                    <a:pt x="434" y="1507"/>
                  </a:lnTo>
                  <a:lnTo>
                    <a:pt x="444" y="1507"/>
                  </a:lnTo>
                  <a:lnTo>
                    <a:pt x="455" y="1508"/>
                  </a:lnTo>
                  <a:lnTo>
                    <a:pt x="465" y="1511"/>
                  </a:lnTo>
                  <a:lnTo>
                    <a:pt x="476" y="1513"/>
                  </a:lnTo>
                  <a:lnTo>
                    <a:pt x="499" y="1523"/>
                  </a:lnTo>
                  <a:lnTo>
                    <a:pt x="521" y="1535"/>
                  </a:lnTo>
                  <a:lnTo>
                    <a:pt x="543" y="1551"/>
                  </a:lnTo>
                  <a:lnTo>
                    <a:pt x="566" y="1571"/>
                  </a:lnTo>
                  <a:lnTo>
                    <a:pt x="589" y="1594"/>
                  </a:lnTo>
                  <a:lnTo>
                    <a:pt x="612" y="1621"/>
                  </a:lnTo>
                  <a:lnTo>
                    <a:pt x="636" y="1652"/>
                  </a:lnTo>
                  <a:lnTo>
                    <a:pt x="659" y="1685"/>
                  </a:lnTo>
                  <a:lnTo>
                    <a:pt x="683" y="1723"/>
                  </a:lnTo>
                  <a:lnTo>
                    <a:pt x="708" y="1763"/>
                  </a:lnTo>
                  <a:lnTo>
                    <a:pt x="733" y="1809"/>
                  </a:lnTo>
                  <a:lnTo>
                    <a:pt x="757" y="1858"/>
                  </a:lnTo>
                  <a:lnTo>
                    <a:pt x="783" y="1909"/>
                  </a:lnTo>
                  <a:lnTo>
                    <a:pt x="808" y="1964"/>
                  </a:lnTo>
                  <a:lnTo>
                    <a:pt x="877" y="2117"/>
                  </a:lnTo>
                  <a:lnTo>
                    <a:pt x="877" y="2117"/>
                  </a:lnTo>
                  <a:lnTo>
                    <a:pt x="924" y="2039"/>
                  </a:lnTo>
                  <a:lnTo>
                    <a:pt x="973" y="1963"/>
                  </a:lnTo>
                  <a:lnTo>
                    <a:pt x="1024" y="1885"/>
                  </a:lnTo>
                  <a:lnTo>
                    <a:pt x="1075" y="1808"/>
                  </a:lnTo>
                  <a:lnTo>
                    <a:pt x="1129" y="1731"/>
                  </a:lnTo>
                  <a:lnTo>
                    <a:pt x="1184" y="1655"/>
                  </a:lnTo>
                  <a:lnTo>
                    <a:pt x="1242" y="1578"/>
                  </a:lnTo>
                  <a:lnTo>
                    <a:pt x="1299" y="1503"/>
                  </a:lnTo>
                  <a:lnTo>
                    <a:pt x="1360" y="1427"/>
                  </a:lnTo>
                  <a:lnTo>
                    <a:pt x="1422" y="1351"/>
                  </a:lnTo>
                  <a:lnTo>
                    <a:pt x="1485" y="1277"/>
                  </a:lnTo>
                  <a:lnTo>
                    <a:pt x="1551" y="1201"/>
                  </a:lnTo>
                  <a:lnTo>
                    <a:pt x="1618" y="1127"/>
                  </a:lnTo>
                  <a:lnTo>
                    <a:pt x="1685" y="1052"/>
                  </a:lnTo>
                  <a:lnTo>
                    <a:pt x="1757" y="978"/>
                  </a:lnTo>
                  <a:lnTo>
                    <a:pt x="1828" y="904"/>
                  </a:lnTo>
                  <a:lnTo>
                    <a:pt x="1828" y="904"/>
                  </a:lnTo>
                  <a:lnTo>
                    <a:pt x="1901" y="831"/>
                  </a:lnTo>
                  <a:lnTo>
                    <a:pt x="1973" y="761"/>
                  </a:lnTo>
                  <a:lnTo>
                    <a:pt x="2045" y="693"/>
                  </a:lnTo>
                  <a:lnTo>
                    <a:pt x="2117" y="627"/>
                  </a:lnTo>
                  <a:lnTo>
                    <a:pt x="2189" y="564"/>
                  </a:lnTo>
                  <a:lnTo>
                    <a:pt x="2260" y="502"/>
                  </a:lnTo>
                  <a:lnTo>
                    <a:pt x="2331" y="441"/>
                  </a:lnTo>
                  <a:lnTo>
                    <a:pt x="2402" y="383"/>
                  </a:lnTo>
                  <a:lnTo>
                    <a:pt x="2474" y="328"/>
                  </a:lnTo>
                  <a:lnTo>
                    <a:pt x="2544" y="274"/>
                  </a:lnTo>
                  <a:lnTo>
                    <a:pt x="2614" y="223"/>
                  </a:lnTo>
                  <a:lnTo>
                    <a:pt x="2685" y="175"/>
                  </a:lnTo>
                  <a:lnTo>
                    <a:pt x="2755" y="128"/>
                  </a:lnTo>
                  <a:lnTo>
                    <a:pt x="2825" y="83"/>
                  </a:lnTo>
                  <a:lnTo>
                    <a:pt x="2893" y="40"/>
                  </a:lnTo>
                  <a:lnTo>
                    <a:pt x="2963" y="0"/>
                  </a:lnTo>
                  <a:lnTo>
                    <a:pt x="2963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68576" tIns="34288" rIns="68576" bIns="3428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2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FCD5544E-1DB5-5760-826C-AE234F0F3E26}"/>
              </a:ext>
            </a:extLst>
          </p:cNvPr>
          <p:cNvGrpSpPr/>
          <p:nvPr/>
        </p:nvGrpSpPr>
        <p:grpSpPr>
          <a:xfrm>
            <a:off x="419099" y="2697318"/>
            <a:ext cx="8669338" cy="601760"/>
            <a:chOff x="550862" y="2274766"/>
            <a:chExt cx="8669338" cy="601760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76808D36-0405-A978-9D54-4FA8A9F6A1A7}"/>
                </a:ext>
              </a:extLst>
            </p:cNvPr>
            <p:cNvSpPr txBox="1">
              <a:spLocks/>
            </p:cNvSpPr>
            <p:nvPr/>
          </p:nvSpPr>
          <p:spPr>
            <a:xfrm>
              <a:off x="1379614" y="2437147"/>
              <a:ext cx="784058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+mn-ea"/>
                  <a:cs typeface="Arial" panose="020B0604020202020204" pitchFamily="34" charset="0"/>
                </a:rPr>
                <a:t>Insert Text Here</a:t>
              </a:r>
            </a:p>
          </p:txBody>
        </p: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65717FC1-E58D-6CDC-B398-251E14AB0EF2}"/>
                </a:ext>
              </a:extLst>
            </p:cNvPr>
            <p:cNvGrpSpPr/>
            <p:nvPr/>
          </p:nvGrpSpPr>
          <p:grpSpPr>
            <a:xfrm>
              <a:off x="550862" y="2274766"/>
              <a:ext cx="603372" cy="601760"/>
              <a:chOff x="454269" y="1828800"/>
              <a:chExt cx="839005" cy="836765"/>
            </a:xfrm>
          </p:grpSpPr>
          <p:sp>
            <p:nvSpPr>
              <p:cNvPr id="16" name="Freeform 48">
                <a:extLst>
                  <a:ext uri="{FF2B5EF4-FFF2-40B4-BE49-F238E27FC236}">
                    <a16:creationId xmlns:a16="http://schemas.microsoft.com/office/drawing/2014/main" id="{D3F3D5F1-8986-AE75-F27B-2AE38759856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4269" y="1828800"/>
                <a:ext cx="839005" cy="836765"/>
              </a:xfrm>
              <a:custGeom>
                <a:avLst/>
                <a:gdLst>
                  <a:gd name="T0" fmla="*/ 151 w 158"/>
                  <a:gd name="T1" fmla="*/ 64 h 158"/>
                  <a:gd name="T2" fmla="*/ 137 w 158"/>
                  <a:gd name="T3" fmla="*/ 60 h 158"/>
                  <a:gd name="T4" fmla="*/ 133 w 158"/>
                  <a:gd name="T5" fmla="*/ 51 h 158"/>
                  <a:gd name="T6" fmla="*/ 141 w 158"/>
                  <a:gd name="T7" fmla="*/ 39 h 158"/>
                  <a:gd name="T8" fmla="*/ 139 w 158"/>
                  <a:gd name="T9" fmla="*/ 26 h 158"/>
                  <a:gd name="T10" fmla="*/ 132 w 158"/>
                  <a:gd name="T11" fmla="*/ 19 h 158"/>
                  <a:gd name="T12" fmla="*/ 119 w 158"/>
                  <a:gd name="T13" fmla="*/ 18 h 158"/>
                  <a:gd name="T14" fmla="*/ 107 w 158"/>
                  <a:gd name="T15" fmla="*/ 25 h 158"/>
                  <a:gd name="T16" fmla="*/ 98 w 158"/>
                  <a:gd name="T17" fmla="*/ 21 h 158"/>
                  <a:gd name="T18" fmla="*/ 95 w 158"/>
                  <a:gd name="T19" fmla="*/ 7 h 158"/>
                  <a:gd name="T20" fmla="*/ 84 w 158"/>
                  <a:gd name="T21" fmla="*/ 0 h 158"/>
                  <a:gd name="T22" fmla="*/ 74 w 158"/>
                  <a:gd name="T23" fmla="*/ 0 h 158"/>
                  <a:gd name="T24" fmla="*/ 64 w 158"/>
                  <a:gd name="T25" fmla="*/ 7 h 158"/>
                  <a:gd name="T26" fmla="*/ 61 w 158"/>
                  <a:gd name="T27" fmla="*/ 21 h 158"/>
                  <a:gd name="T28" fmla="*/ 52 w 158"/>
                  <a:gd name="T29" fmla="*/ 25 h 158"/>
                  <a:gd name="T30" fmla="*/ 40 w 158"/>
                  <a:gd name="T31" fmla="*/ 18 h 158"/>
                  <a:gd name="T32" fmla="*/ 27 w 158"/>
                  <a:gd name="T33" fmla="*/ 19 h 158"/>
                  <a:gd name="T34" fmla="*/ 20 w 158"/>
                  <a:gd name="T35" fmla="*/ 26 h 158"/>
                  <a:gd name="T36" fmla="*/ 18 w 158"/>
                  <a:gd name="T37" fmla="*/ 39 h 158"/>
                  <a:gd name="T38" fmla="*/ 26 w 158"/>
                  <a:gd name="T39" fmla="*/ 51 h 158"/>
                  <a:gd name="T40" fmla="*/ 22 w 158"/>
                  <a:gd name="T41" fmla="*/ 60 h 158"/>
                  <a:gd name="T42" fmla="*/ 8 w 158"/>
                  <a:gd name="T43" fmla="*/ 64 h 158"/>
                  <a:gd name="T44" fmla="*/ 0 w 158"/>
                  <a:gd name="T45" fmla="*/ 74 h 158"/>
                  <a:gd name="T46" fmla="*/ 0 w 158"/>
                  <a:gd name="T47" fmla="*/ 84 h 158"/>
                  <a:gd name="T48" fmla="*/ 8 w 158"/>
                  <a:gd name="T49" fmla="*/ 94 h 158"/>
                  <a:gd name="T50" fmla="*/ 22 w 158"/>
                  <a:gd name="T51" fmla="*/ 98 h 158"/>
                  <a:gd name="T52" fmla="*/ 26 w 158"/>
                  <a:gd name="T53" fmla="*/ 106 h 158"/>
                  <a:gd name="T54" fmla="*/ 18 w 158"/>
                  <a:gd name="T55" fmla="*/ 118 h 158"/>
                  <a:gd name="T56" fmla="*/ 20 w 158"/>
                  <a:gd name="T57" fmla="*/ 131 h 158"/>
                  <a:gd name="T58" fmla="*/ 27 w 158"/>
                  <a:gd name="T59" fmla="*/ 138 h 158"/>
                  <a:gd name="T60" fmla="*/ 40 w 158"/>
                  <a:gd name="T61" fmla="*/ 140 h 158"/>
                  <a:gd name="T62" fmla="*/ 52 w 158"/>
                  <a:gd name="T63" fmla="*/ 133 h 158"/>
                  <a:gd name="T64" fmla="*/ 61 w 158"/>
                  <a:gd name="T65" fmla="*/ 136 h 158"/>
                  <a:gd name="T66" fmla="*/ 64 w 158"/>
                  <a:gd name="T67" fmla="*/ 150 h 158"/>
                  <a:gd name="T68" fmla="*/ 74 w 158"/>
                  <a:gd name="T69" fmla="*/ 158 h 158"/>
                  <a:gd name="T70" fmla="*/ 84 w 158"/>
                  <a:gd name="T71" fmla="*/ 158 h 158"/>
                  <a:gd name="T72" fmla="*/ 95 w 158"/>
                  <a:gd name="T73" fmla="*/ 150 h 158"/>
                  <a:gd name="T74" fmla="*/ 98 w 158"/>
                  <a:gd name="T75" fmla="*/ 136 h 158"/>
                  <a:gd name="T76" fmla="*/ 107 w 158"/>
                  <a:gd name="T77" fmla="*/ 133 h 158"/>
                  <a:gd name="T78" fmla="*/ 119 w 158"/>
                  <a:gd name="T79" fmla="*/ 140 h 158"/>
                  <a:gd name="T80" fmla="*/ 132 w 158"/>
                  <a:gd name="T81" fmla="*/ 138 h 158"/>
                  <a:gd name="T82" fmla="*/ 139 w 158"/>
                  <a:gd name="T83" fmla="*/ 131 h 158"/>
                  <a:gd name="T84" fmla="*/ 141 w 158"/>
                  <a:gd name="T85" fmla="*/ 118 h 158"/>
                  <a:gd name="T86" fmla="*/ 133 w 158"/>
                  <a:gd name="T87" fmla="*/ 106 h 158"/>
                  <a:gd name="T88" fmla="*/ 137 w 158"/>
                  <a:gd name="T89" fmla="*/ 98 h 158"/>
                  <a:gd name="T90" fmla="*/ 151 w 158"/>
                  <a:gd name="T91" fmla="*/ 94 h 158"/>
                  <a:gd name="T92" fmla="*/ 158 w 158"/>
                  <a:gd name="T93" fmla="*/ 84 h 158"/>
                  <a:gd name="T94" fmla="*/ 158 w 158"/>
                  <a:gd name="T95" fmla="*/ 74 h 158"/>
                  <a:gd name="T96" fmla="*/ 151 w 158"/>
                  <a:gd name="T97" fmla="*/ 64 h 158"/>
                  <a:gd name="T98" fmla="*/ 79 w 158"/>
                  <a:gd name="T99" fmla="*/ 127 h 158"/>
                  <a:gd name="T100" fmla="*/ 32 w 158"/>
                  <a:gd name="T101" fmla="*/ 79 h 158"/>
                  <a:gd name="T102" fmla="*/ 79 w 158"/>
                  <a:gd name="T103" fmla="*/ 31 h 158"/>
                  <a:gd name="T104" fmla="*/ 127 w 158"/>
                  <a:gd name="T105" fmla="*/ 79 h 158"/>
                  <a:gd name="T106" fmla="*/ 79 w 158"/>
                  <a:gd name="T107" fmla="*/ 127 h 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58" h="158">
                    <a:moveTo>
                      <a:pt x="151" y="64"/>
                    </a:moveTo>
                    <a:cubicBezTo>
                      <a:pt x="137" y="60"/>
                      <a:pt x="137" y="60"/>
                      <a:pt x="137" y="60"/>
                    </a:cubicBezTo>
                    <a:cubicBezTo>
                      <a:pt x="136" y="57"/>
                      <a:pt x="135" y="54"/>
                      <a:pt x="133" y="51"/>
                    </a:cubicBezTo>
                    <a:cubicBezTo>
                      <a:pt x="141" y="39"/>
                      <a:pt x="141" y="39"/>
                      <a:pt x="141" y="39"/>
                    </a:cubicBezTo>
                    <a:cubicBezTo>
                      <a:pt x="143" y="35"/>
                      <a:pt x="142" y="30"/>
                      <a:pt x="139" y="26"/>
                    </a:cubicBezTo>
                    <a:cubicBezTo>
                      <a:pt x="132" y="19"/>
                      <a:pt x="132" y="19"/>
                      <a:pt x="132" y="19"/>
                    </a:cubicBezTo>
                    <a:cubicBezTo>
                      <a:pt x="129" y="16"/>
                      <a:pt x="123" y="15"/>
                      <a:pt x="119" y="18"/>
                    </a:cubicBezTo>
                    <a:cubicBezTo>
                      <a:pt x="107" y="25"/>
                      <a:pt x="107" y="25"/>
                      <a:pt x="107" y="25"/>
                    </a:cubicBezTo>
                    <a:cubicBezTo>
                      <a:pt x="104" y="23"/>
                      <a:pt x="101" y="22"/>
                      <a:pt x="98" y="21"/>
                    </a:cubicBezTo>
                    <a:cubicBezTo>
                      <a:pt x="95" y="7"/>
                      <a:pt x="95" y="7"/>
                      <a:pt x="95" y="7"/>
                    </a:cubicBezTo>
                    <a:cubicBezTo>
                      <a:pt x="93" y="3"/>
                      <a:pt x="89" y="0"/>
                      <a:pt x="84" y="0"/>
                    </a:cubicBezTo>
                    <a:cubicBezTo>
                      <a:pt x="74" y="0"/>
                      <a:pt x="74" y="0"/>
                      <a:pt x="74" y="0"/>
                    </a:cubicBezTo>
                    <a:cubicBezTo>
                      <a:pt x="70" y="0"/>
                      <a:pt x="66" y="3"/>
                      <a:pt x="64" y="7"/>
                    </a:cubicBezTo>
                    <a:cubicBezTo>
                      <a:pt x="61" y="21"/>
                      <a:pt x="61" y="21"/>
                      <a:pt x="61" y="21"/>
                    </a:cubicBezTo>
                    <a:cubicBezTo>
                      <a:pt x="58" y="22"/>
                      <a:pt x="55" y="23"/>
                      <a:pt x="52" y="25"/>
                    </a:cubicBezTo>
                    <a:cubicBezTo>
                      <a:pt x="40" y="18"/>
                      <a:pt x="40" y="18"/>
                      <a:pt x="40" y="18"/>
                    </a:cubicBezTo>
                    <a:cubicBezTo>
                      <a:pt x="36" y="15"/>
                      <a:pt x="30" y="16"/>
                      <a:pt x="27" y="19"/>
                    </a:cubicBezTo>
                    <a:cubicBezTo>
                      <a:pt x="20" y="26"/>
                      <a:pt x="20" y="26"/>
                      <a:pt x="20" y="26"/>
                    </a:cubicBezTo>
                    <a:cubicBezTo>
                      <a:pt x="17" y="30"/>
                      <a:pt x="16" y="35"/>
                      <a:pt x="18" y="39"/>
                    </a:cubicBezTo>
                    <a:cubicBezTo>
                      <a:pt x="26" y="51"/>
                      <a:pt x="26" y="51"/>
                      <a:pt x="26" y="51"/>
                    </a:cubicBezTo>
                    <a:cubicBezTo>
                      <a:pt x="24" y="54"/>
                      <a:pt x="23" y="57"/>
                      <a:pt x="22" y="60"/>
                    </a:cubicBezTo>
                    <a:cubicBezTo>
                      <a:pt x="8" y="64"/>
                      <a:pt x="8" y="64"/>
                      <a:pt x="8" y="64"/>
                    </a:cubicBezTo>
                    <a:cubicBezTo>
                      <a:pt x="4" y="65"/>
                      <a:pt x="0" y="69"/>
                      <a:pt x="0" y="74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0" y="88"/>
                      <a:pt x="4" y="93"/>
                      <a:pt x="8" y="94"/>
                    </a:cubicBezTo>
                    <a:cubicBezTo>
                      <a:pt x="22" y="98"/>
                      <a:pt x="22" y="98"/>
                      <a:pt x="22" y="98"/>
                    </a:cubicBezTo>
                    <a:cubicBezTo>
                      <a:pt x="23" y="100"/>
                      <a:pt x="24" y="103"/>
                      <a:pt x="26" y="106"/>
                    </a:cubicBezTo>
                    <a:cubicBezTo>
                      <a:pt x="18" y="118"/>
                      <a:pt x="18" y="118"/>
                      <a:pt x="18" y="118"/>
                    </a:cubicBezTo>
                    <a:cubicBezTo>
                      <a:pt x="16" y="122"/>
                      <a:pt x="17" y="128"/>
                      <a:pt x="20" y="131"/>
                    </a:cubicBezTo>
                    <a:cubicBezTo>
                      <a:pt x="27" y="138"/>
                      <a:pt x="27" y="138"/>
                      <a:pt x="27" y="138"/>
                    </a:cubicBezTo>
                    <a:cubicBezTo>
                      <a:pt x="30" y="141"/>
                      <a:pt x="36" y="142"/>
                      <a:pt x="40" y="140"/>
                    </a:cubicBezTo>
                    <a:cubicBezTo>
                      <a:pt x="52" y="133"/>
                      <a:pt x="52" y="133"/>
                      <a:pt x="52" y="133"/>
                    </a:cubicBezTo>
                    <a:cubicBezTo>
                      <a:pt x="55" y="134"/>
                      <a:pt x="58" y="135"/>
                      <a:pt x="61" y="136"/>
                    </a:cubicBezTo>
                    <a:cubicBezTo>
                      <a:pt x="64" y="150"/>
                      <a:pt x="64" y="150"/>
                      <a:pt x="64" y="150"/>
                    </a:cubicBezTo>
                    <a:cubicBezTo>
                      <a:pt x="66" y="154"/>
                      <a:pt x="70" y="158"/>
                      <a:pt x="74" y="158"/>
                    </a:cubicBezTo>
                    <a:cubicBezTo>
                      <a:pt x="84" y="158"/>
                      <a:pt x="84" y="158"/>
                      <a:pt x="84" y="158"/>
                    </a:cubicBezTo>
                    <a:cubicBezTo>
                      <a:pt x="89" y="158"/>
                      <a:pt x="93" y="154"/>
                      <a:pt x="95" y="150"/>
                    </a:cubicBezTo>
                    <a:cubicBezTo>
                      <a:pt x="98" y="136"/>
                      <a:pt x="98" y="136"/>
                      <a:pt x="98" y="136"/>
                    </a:cubicBezTo>
                    <a:cubicBezTo>
                      <a:pt x="101" y="135"/>
                      <a:pt x="104" y="134"/>
                      <a:pt x="107" y="133"/>
                    </a:cubicBezTo>
                    <a:cubicBezTo>
                      <a:pt x="119" y="140"/>
                      <a:pt x="119" y="140"/>
                      <a:pt x="119" y="140"/>
                    </a:cubicBezTo>
                    <a:cubicBezTo>
                      <a:pt x="123" y="142"/>
                      <a:pt x="129" y="141"/>
                      <a:pt x="132" y="138"/>
                    </a:cubicBezTo>
                    <a:cubicBezTo>
                      <a:pt x="139" y="131"/>
                      <a:pt x="139" y="131"/>
                      <a:pt x="139" y="131"/>
                    </a:cubicBezTo>
                    <a:cubicBezTo>
                      <a:pt x="142" y="128"/>
                      <a:pt x="143" y="122"/>
                      <a:pt x="141" y="118"/>
                    </a:cubicBezTo>
                    <a:cubicBezTo>
                      <a:pt x="133" y="106"/>
                      <a:pt x="133" y="106"/>
                      <a:pt x="133" y="106"/>
                    </a:cubicBezTo>
                    <a:cubicBezTo>
                      <a:pt x="135" y="103"/>
                      <a:pt x="136" y="100"/>
                      <a:pt x="137" y="98"/>
                    </a:cubicBezTo>
                    <a:cubicBezTo>
                      <a:pt x="151" y="94"/>
                      <a:pt x="151" y="94"/>
                      <a:pt x="151" y="94"/>
                    </a:cubicBezTo>
                    <a:cubicBezTo>
                      <a:pt x="155" y="93"/>
                      <a:pt x="158" y="88"/>
                      <a:pt x="158" y="84"/>
                    </a:cubicBezTo>
                    <a:cubicBezTo>
                      <a:pt x="158" y="74"/>
                      <a:pt x="158" y="74"/>
                      <a:pt x="158" y="74"/>
                    </a:cubicBezTo>
                    <a:cubicBezTo>
                      <a:pt x="158" y="69"/>
                      <a:pt x="155" y="65"/>
                      <a:pt x="151" y="64"/>
                    </a:cubicBezTo>
                    <a:close/>
                    <a:moveTo>
                      <a:pt x="79" y="127"/>
                    </a:moveTo>
                    <a:cubicBezTo>
                      <a:pt x="53" y="127"/>
                      <a:pt x="32" y="105"/>
                      <a:pt x="32" y="79"/>
                    </a:cubicBezTo>
                    <a:cubicBezTo>
                      <a:pt x="32" y="52"/>
                      <a:pt x="53" y="31"/>
                      <a:pt x="79" y="31"/>
                    </a:cubicBezTo>
                    <a:cubicBezTo>
                      <a:pt x="106" y="31"/>
                      <a:pt x="127" y="52"/>
                      <a:pt x="127" y="79"/>
                    </a:cubicBezTo>
                    <a:cubicBezTo>
                      <a:pt x="127" y="105"/>
                      <a:pt x="106" y="127"/>
                      <a:pt x="79" y="127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7" name="Oval 16">
                <a:extLst>
                  <a:ext uri="{FF2B5EF4-FFF2-40B4-BE49-F238E27FC236}">
                    <a16:creationId xmlns:a16="http://schemas.microsoft.com/office/drawing/2014/main" id="{4BA2AF80-2071-508E-56F4-4E8E5FF6D452}"/>
                  </a:ext>
                </a:extLst>
              </p:cNvPr>
              <p:cNvSpPr/>
              <p:nvPr/>
            </p:nvSpPr>
            <p:spPr>
              <a:xfrm>
                <a:off x="604542" y="1977953"/>
                <a:ext cx="538458" cy="538458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sp>
          <p:nvSpPr>
            <p:cNvPr id="15" name="Freeform 99">
              <a:extLst>
                <a:ext uri="{FF2B5EF4-FFF2-40B4-BE49-F238E27FC236}">
                  <a16:creationId xmlns:a16="http://schemas.microsoft.com/office/drawing/2014/main" id="{BA8369DF-E5FC-6456-7179-AFCFF5882F37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741792" y="2365046"/>
              <a:ext cx="345852" cy="305232"/>
            </a:xfrm>
            <a:custGeom>
              <a:avLst/>
              <a:gdLst>
                <a:gd name="T0" fmla="*/ 3040 w 3040"/>
                <a:gd name="T1" fmla="*/ 109 h 2884"/>
                <a:gd name="T2" fmla="*/ 2860 w 3040"/>
                <a:gd name="T3" fmla="*/ 256 h 2884"/>
                <a:gd name="T4" fmla="*/ 2673 w 3040"/>
                <a:gd name="T5" fmla="*/ 428 h 2884"/>
                <a:gd name="T6" fmla="*/ 2479 w 3040"/>
                <a:gd name="T7" fmla="*/ 627 h 2884"/>
                <a:gd name="T8" fmla="*/ 2277 w 3040"/>
                <a:gd name="T9" fmla="*/ 853 h 2884"/>
                <a:gd name="T10" fmla="*/ 2067 w 3040"/>
                <a:gd name="T11" fmla="*/ 1106 h 2884"/>
                <a:gd name="T12" fmla="*/ 1926 w 3040"/>
                <a:gd name="T13" fmla="*/ 1287 h 2884"/>
                <a:gd name="T14" fmla="*/ 1727 w 3040"/>
                <a:gd name="T15" fmla="*/ 1556 h 2884"/>
                <a:gd name="T16" fmla="*/ 1546 w 3040"/>
                <a:gd name="T17" fmla="*/ 1819 h 2884"/>
                <a:gd name="T18" fmla="*/ 1385 w 3040"/>
                <a:gd name="T19" fmla="*/ 2076 h 2884"/>
                <a:gd name="T20" fmla="*/ 1243 w 3040"/>
                <a:gd name="T21" fmla="*/ 2324 h 2884"/>
                <a:gd name="T22" fmla="*/ 1120 w 3040"/>
                <a:gd name="T23" fmla="*/ 2567 h 2884"/>
                <a:gd name="T24" fmla="*/ 865 w 3040"/>
                <a:gd name="T25" fmla="*/ 2741 h 2884"/>
                <a:gd name="T26" fmla="*/ 704 w 3040"/>
                <a:gd name="T27" fmla="*/ 2867 h 2884"/>
                <a:gd name="T28" fmla="*/ 675 w 3040"/>
                <a:gd name="T29" fmla="*/ 2856 h 2884"/>
                <a:gd name="T30" fmla="*/ 603 w 3040"/>
                <a:gd name="T31" fmla="*/ 2655 h 2884"/>
                <a:gd name="T32" fmla="*/ 498 w 3040"/>
                <a:gd name="T33" fmla="*/ 2404 h 2884"/>
                <a:gd name="T34" fmla="*/ 401 w 3040"/>
                <a:gd name="T35" fmla="*/ 2197 h 2884"/>
                <a:gd name="T36" fmla="*/ 311 w 3040"/>
                <a:gd name="T37" fmla="*/ 2034 h 2884"/>
                <a:gd name="T38" fmla="*/ 253 w 3040"/>
                <a:gd name="T39" fmla="*/ 1950 h 2884"/>
                <a:gd name="T40" fmla="*/ 164 w 3040"/>
                <a:gd name="T41" fmla="*/ 1855 h 2884"/>
                <a:gd name="T42" fmla="*/ 69 w 3040"/>
                <a:gd name="T43" fmla="*/ 1786 h 2884"/>
                <a:gd name="T44" fmla="*/ 0 w 3040"/>
                <a:gd name="T45" fmla="*/ 1757 h 2884"/>
                <a:gd name="T46" fmla="*/ 87 w 3040"/>
                <a:gd name="T47" fmla="*/ 1672 h 2884"/>
                <a:gd name="T48" fmla="*/ 172 w 3040"/>
                <a:gd name="T49" fmla="*/ 1605 h 2884"/>
                <a:gd name="T50" fmla="*/ 254 w 3040"/>
                <a:gd name="T51" fmla="*/ 1555 h 2884"/>
                <a:gd name="T52" fmla="*/ 332 w 3040"/>
                <a:gd name="T53" fmla="*/ 1523 h 2884"/>
                <a:gd name="T54" fmla="*/ 409 w 3040"/>
                <a:gd name="T55" fmla="*/ 1508 h 2884"/>
                <a:gd name="T56" fmla="*/ 444 w 3040"/>
                <a:gd name="T57" fmla="*/ 1507 h 2884"/>
                <a:gd name="T58" fmla="*/ 476 w 3040"/>
                <a:gd name="T59" fmla="*/ 1513 h 2884"/>
                <a:gd name="T60" fmla="*/ 543 w 3040"/>
                <a:gd name="T61" fmla="*/ 1551 h 2884"/>
                <a:gd name="T62" fmla="*/ 612 w 3040"/>
                <a:gd name="T63" fmla="*/ 1621 h 2884"/>
                <a:gd name="T64" fmla="*/ 683 w 3040"/>
                <a:gd name="T65" fmla="*/ 1723 h 2884"/>
                <a:gd name="T66" fmla="*/ 757 w 3040"/>
                <a:gd name="T67" fmla="*/ 1858 h 2884"/>
                <a:gd name="T68" fmla="*/ 877 w 3040"/>
                <a:gd name="T69" fmla="*/ 2117 h 2884"/>
                <a:gd name="T70" fmla="*/ 973 w 3040"/>
                <a:gd name="T71" fmla="*/ 1963 h 2884"/>
                <a:gd name="T72" fmla="*/ 1129 w 3040"/>
                <a:gd name="T73" fmla="*/ 1731 h 2884"/>
                <a:gd name="T74" fmla="*/ 1299 w 3040"/>
                <a:gd name="T75" fmla="*/ 1503 h 2884"/>
                <a:gd name="T76" fmla="*/ 1485 w 3040"/>
                <a:gd name="T77" fmla="*/ 1277 h 2884"/>
                <a:gd name="T78" fmla="*/ 1685 w 3040"/>
                <a:gd name="T79" fmla="*/ 1052 h 2884"/>
                <a:gd name="T80" fmla="*/ 1828 w 3040"/>
                <a:gd name="T81" fmla="*/ 904 h 2884"/>
                <a:gd name="T82" fmla="*/ 2045 w 3040"/>
                <a:gd name="T83" fmla="*/ 693 h 2884"/>
                <a:gd name="T84" fmla="*/ 2260 w 3040"/>
                <a:gd name="T85" fmla="*/ 502 h 2884"/>
                <a:gd name="T86" fmla="*/ 2474 w 3040"/>
                <a:gd name="T87" fmla="*/ 328 h 2884"/>
                <a:gd name="T88" fmla="*/ 2685 w 3040"/>
                <a:gd name="T89" fmla="*/ 175 h 2884"/>
                <a:gd name="T90" fmla="*/ 2893 w 3040"/>
                <a:gd name="T91" fmla="*/ 40 h 28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040" h="2884">
                  <a:moveTo>
                    <a:pt x="2963" y="0"/>
                  </a:moveTo>
                  <a:lnTo>
                    <a:pt x="3040" y="109"/>
                  </a:lnTo>
                  <a:lnTo>
                    <a:pt x="3040" y="109"/>
                  </a:lnTo>
                  <a:lnTo>
                    <a:pt x="2981" y="155"/>
                  </a:lnTo>
                  <a:lnTo>
                    <a:pt x="2922" y="203"/>
                  </a:lnTo>
                  <a:lnTo>
                    <a:pt x="2860" y="256"/>
                  </a:lnTo>
                  <a:lnTo>
                    <a:pt x="2799" y="309"/>
                  </a:lnTo>
                  <a:lnTo>
                    <a:pt x="2736" y="367"/>
                  </a:lnTo>
                  <a:lnTo>
                    <a:pt x="2673" y="428"/>
                  </a:lnTo>
                  <a:lnTo>
                    <a:pt x="2610" y="491"/>
                  </a:lnTo>
                  <a:lnTo>
                    <a:pt x="2545" y="557"/>
                  </a:lnTo>
                  <a:lnTo>
                    <a:pt x="2479" y="627"/>
                  </a:lnTo>
                  <a:lnTo>
                    <a:pt x="2413" y="699"/>
                  </a:lnTo>
                  <a:lnTo>
                    <a:pt x="2346" y="775"/>
                  </a:lnTo>
                  <a:lnTo>
                    <a:pt x="2277" y="853"/>
                  </a:lnTo>
                  <a:lnTo>
                    <a:pt x="2209" y="934"/>
                  </a:lnTo>
                  <a:lnTo>
                    <a:pt x="2139" y="1018"/>
                  </a:lnTo>
                  <a:lnTo>
                    <a:pt x="2067" y="1106"/>
                  </a:lnTo>
                  <a:lnTo>
                    <a:pt x="1996" y="1196"/>
                  </a:lnTo>
                  <a:lnTo>
                    <a:pt x="1996" y="1196"/>
                  </a:lnTo>
                  <a:lnTo>
                    <a:pt x="1926" y="1287"/>
                  </a:lnTo>
                  <a:lnTo>
                    <a:pt x="1858" y="1377"/>
                  </a:lnTo>
                  <a:lnTo>
                    <a:pt x="1790" y="1468"/>
                  </a:lnTo>
                  <a:lnTo>
                    <a:pt x="1727" y="1556"/>
                  </a:lnTo>
                  <a:lnTo>
                    <a:pt x="1664" y="1645"/>
                  </a:lnTo>
                  <a:lnTo>
                    <a:pt x="1605" y="1733"/>
                  </a:lnTo>
                  <a:lnTo>
                    <a:pt x="1546" y="1819"/>
                  </a:lnTo>
                  <a:lnTo>
                    <a:pt x="1490" y="1905"/>
                  </a:lnTo>
                  <a:lnTo>
                    <a:pt x="1437" y="1991"/>
                  </a:lnTo>
                  <a:lnTo>
                    <a:pt x="1385" y="2076"/>
                  </a:lnTo>
                  <a:lnTo>
                    <a:pt x="1336" y="2159"/>
                  </a:lnTo>
                  <a:lnTo>
                    <a:pt x="1289" y="2242"/>
                  </a:lnTo>
                  <a:lnTo>
                    <a:pt x="1243" y="2324"/>
                  </a:lnTo>
                  <a:lnTo>
                    <a:pt x="1200" y="2405"/>
                  </a:lnTo>
                  <a:lnTo>
                    <a:pt x="1160" y="2486"/>
                  </a:lnTo>
                  <a:lnTo>
                    <a:pt x="1120" y="2567"/>
                  </a:lnTo>
                  <a:lnTo>
                    <a:pt x="958" y="2676"/>
                  </a:lnTo>
                  <a:lnTo>
                    <a:pt x="958" y="2676"/>
                  </a:lnTo>
                  <a:lnTo>
                    <a:pt x="865" y="2741"/>
                  </a:lnTo>
                  <a:lnTo>
                    <a:pt x="788" y="2798"/>
                  </a:lnTo>
                  <a:lnTo>
                    <a:pt x="728" y="2845"/>
                  </a:lnTo>
                  <a:lnTo>
                    <a:pt x="704" y="2867"/>
                  </a:lnTo>
                  <a:lnTo>
                    <a:pt x="683" y="2884"/>
                  </a:lnTo>
                  <a:lnTo>
                    <a:pt x="683" y="2884"/>
                  </a:lnTo>
                  <a:lnTo>
                    <a:pt x="675" y="2856"/>
                  </a:lnTo>
                  <a:lnTo>
                    <a:pt x="666" y="2825"/>
                  </a:lnTo>
                  <a:lnTo>
                    <a:pt x="639" y="2748"/>
                  </a:lnTo>
                  <a:lnTo>
                    <a:pt x="603" y="2655"/>
                  </a:lnTo>
                  <a:lnTo>
                    <a:pt x="560" y="2546"/>
                  </a:lnTo>
                  <a:lnTo>
                    <a:pt x="498" y="2404"/>
                  </a:lnTo>
                  <a:lnTo>
                    <a:pt x="498" y="2404"/>
                  </a:lnTo>
                  <a:lnTo>
                    <a:pt x="465" y="2330"/>
                  </a:lnTo>
                  <a:lnTo>
                    <a:pt x="433" y="2261"/>
                  </a:lnTo>
                  <a:lnTo>
                    <a:pt x="401" y="2197"/>
                  </a:lnTo>
                  <a:lnTo>
                    <a:pt x="371" y="2137"/>
                  </a:lnTo>
                  <a:lnTo>
                    <a:pt x="340" y="2084"/>
                  </a:lnTo>
                  <a:lnTo>
                    <a:pt x="311" y="2034"/>
                  </a:lnTo>
                  <a:lnTo>
                    <a:pt x="281" y="1991"/>
                  </a:lnTo>
                  <a:lnTo>
                    <a:pt x="253" y="1950"/>
                  </a:lnTo>
                  <a:lnTo>
                    <a:pt x="253" y="1950"/>
                  </a:lnTo>
                  <a:lnTo>
                    <a:pt x="225" y="1915"/>
                  </a:lnTo>
                  <a:lnTo>
                    <a:pt x="195" y="1885"/>
                  </a:lnTo>
                  <a:lnTo>
                    <a:pt x="164" y="1855"/>
                  </a:lnTo>
                  <a:lnTo>
                    <a:pt x="133" y="1829"/>
                  </a:lnTo>
                  <a:lnTo>
                    <a:pt x="101" y="1807"/>
                  </a:lnTo>
                  <a:lnTo>
                    <a:pt x="69" y="1786"/>
                  </a:lnTo>
                  <a:lnTo>
                    <a:pt x="35" y="1770"/>
                  </a:lnTo>
                  <a:lnTo>
                    <a:pt x="0" y="1757"/>
                  </a:lnTo>
                  <a:lnTo>
                    <a:pt x="0" y="1757"/>
                  </a:lnTo>
                  <a:lnTo>
                    <a:pt x="30" y="1726"/>
                  </a:lnTo>
                  <a:lnTo>
                    <a:pt x="59" y="1698"/>
                  </a:lnTo>
                  <a:lnTo>
                    <a:pt x="87" y="1672"/>
                  </a:lnTo>
                  <a:lnTo>
                    <a:pt x="116" y="1646"/>
                  </a:lnTo>
                  <a:lnTo>
                    <a:pt x="144" y="1625"/>
                  </a:lnTo>
                  <a:lnTo>
                    <a:pt x="172" y="1605"/>
                  </a:lnTo>
                  <a:lnTo>
                    <a:pt x="199" y="1586"/>
                  </a:lnTo>
                  <a:lnTo>
                    <a:pt x="227" y="1568"/>
                  </a:lnTo>
                  <a:lnTo>
                    <a:pt x="254" y="1555"/>
                  </a:lnTo>
                  <a:lnTo>
                    <a:pt x="281" y="1542"/>
                  </a:lnTo>
                  <a:lnTo>
                    <a:pt x="307" y="1531"/>
                  </a:lnTo>
                  <a:lnTo>
                    <a:pt x="332" y="1523"/>
                  </a:lnTo>
                  <a:lnTo>
                    <a:pt x="359" y="1516"/>
                  </a:lnTo>
                  <a:lnTo>
                    <a:pt x="385" y="1511"/>
                  </a:lnTo>
                  <a:lnTo>
                    <a:pt x="409" y="1508"/>
                  </a:lnTo>
                  <a:lnTo>
                    <a:pt x="434" y="1507"/>
                  </a:lnTo>
                  <a:lnTo>
                    <a:pt x="434" y="1507"/>
                  </a:lnTo>
                  <a:lnTo>
                    <a:pt x="444" y="1507"/>
                  </a:lnTo>
                  <a:lnTo>
                    <a:pt x="455" y="1508"/>
                  </a:lnTo>
                  <a:lnTo>
                    <a:pt x="465" y="1511"/>
                  </a:lnTo>
                  <a:lnTo>
                    <a:pt x="476" y="1513"/>
                  </a:lnTo>
                  <a:lnTo>
                    <a:pt x="499" y="1523"/>
                  </a:lnTo>
                  <a:lnTo>
                    <a:pt x="521" y="1535"/>
                  </a:lnTo>
                  <a:lnTo>
                    <a:pt x="543" y="1551"/>
                  </a:lnTo>
                  <a:lnTo>
                    <a:pt x="566" y="1571"/>
                  </a:lnTo>
                  <a:lnTo>
                    <a:pt x="589" y="1594"/>
                  </a:lnTo>
                  <a:lnTo>
                    <a:pt x="612" y="1621"/>
                  </a:lnTo>
                  <a:lnTo>
                    <a:pt x="636" y="1652"/>
                  </a:lnTo>
                  <a:lnTo>
                    <a:pt x="659" y="1685"/>
                  </a:lnTo>
                  <a:lnTo>
                    <a:pt x="683" y="1723"/>
                  </a:lnTo>
                  <a:lnTo>
                    <a:pt x="708" y="1763"/>
                  </a:lnTo>
                  <a:lnTo>
                    <a:pt x="733" y="1809"/>
                  </a:lnTo>
                  <a:lnTo>
                    <a:pt x="757" y="1858"/>
                  </a:lnTo>
                  <a:lnTo>
                    <a:pt x="783" y="1909"/>
                  </a:lnTo>
                  <a:lnTo>
                    <a:pt x="808" y="1964"/>
                  </a:lnTo>
                  <a:lnTo>
                    <a:pt x="877" y="2117"/>
                  </a:lnTo>
                  <a:lnTo>
                    <a:pt x="877" y="2117"/>
                  </a:lnTo>
                  <a:lnTo>
                    <a:pt x="924" y="2039"/>
                  </a:lnTo>
                  <a:lnTo>
                    <a:pt x="973" y="1963"/>
                  </a:lnTo>
                  <a:lnTo>
                    <a:pt x="1024" y="1885"/>
                  </a:lnTo>
                  <a:lnTo>
                    <a:pt x="1075" y="1808"/>
                  </a:lnTo>
                  <a:lnTo>
                    <a:pt x="1129" y="1731"/>
                  </a:lnTo>
                  <a:lnTo>
                    <a:pt x="1184" y="1655"/>
                  </a:lnTo>
                  <a:lnTo>
                    <a:pt x="1242" y="1578"/>
                  </a:lnTo>
                  <a:lnTo>
                    <a:pt x="1299" y="1503"/>
                  </a:lnTo>
                  <a:lnTo>
                    <a:pt x="1360" y="1427"/>
                  </a:lnTo>
                  <a:lnTo>
                    <a:pt x="1422" y="1351"/>
                  </a:lnTo>
                  <a:lnTo>
                    <a:pt x="1485" y="1277"/>
                  </a:lnTo>
                  <a:lnTo>
                    <a:pt x="1551" y="1201"/>
                  </a:lnTo>
                  <a:lnTo>
                    <a:pt x="1618" y="1127"/>
                  </a:lnTo>
                  <a:lnTo>
                    <a:pt x="1685" y="1052"/>
                  </a:lnTo>
                  <a:lnTo>
                    <a:pt x="1757" y="978"/>
                  </a:lnTo>
                  <a:lnTo>
                    <a:pt x="1828" y="904"/>
                  </a:lnTo>
                  <a:lnTo>
                    <a:pt x="1828" y="904"/>
                  </a:lnTo>
                  <a:lnTo>
                    <a:pt x="1901" y="831"/>
                  </a:lnTo>
                  <a:lnTo>
                    <a:pt x="1973" y="761"/>
                  </a:lnTo>
                  <a:lnTo>
                    <a:pt x="2045" y="693"/>
                  </a:lnTo>
                  <a:lnTo>
                    <a:pt x="2117" y="627"/>
                  </a:lnTo>
                  <a:lnTo>
                    <a:pt x="2189" y="564"/>
                  </a:lnTo>
                  <a:lnTo>
                    <a:pt x="2260" y="502"/>
                  </a:lnTo>
                  <a:lnTo>
                    <a:pt x="2331" y="441"/>
                  </a:lnTo>
                  <a:lnTo>
                    <a:pt x="2402" y="383"/>
                  </a:lnTo>
                  <a:lnTo>
                    <a:pt x="2474" y="328"/>
                  </a:lnTo>
                  <a:lnTo>
                    <a:pt x="2544" y="274"/>
                  </a:lnTo>
                  <a:lnTo>
                    <a:pt x="2614" y="223"/>
                  </a:lnTo>
                  <a:lnTo>
                    <a:pt x="2685" y="175"/>
                  </a:lnTo>
                  <a:lnTo>
                    <a:pt x="2755" y="128"/>
                  </a:lnTo>
                  <a:lnTo>
                    <a:pt x="2825" y="83"/>
                  </a:lnTo>
                  <a:lnTo>
                    <a:pt x="2893" y="40"/>
                  </a:lnTo>
                  <a:lnTo>
                    <a:pt x="2963" y="0"/>
                  </a:lnTo>
                  <a:lnTo>
                    <a:pt x="2963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68576" tIns="34288" rIns="68576" bIns="3428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2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1887D801-4782-ED81-E7E2-DEFFBC46AA70}"/>
              </a:ext>
            </a:extLst>
          </p:cNvPr>
          <p:cNvGrpSpPr/>
          <p:nvPr/>
        </p:nvGrpSpPr>
        <p:grpSpPr>
          <a:xfrm>
            <a:off x="419099" y="3659131"/>
            <a:ext cx="8669338" cy="601760"/>
            <a:chOff x="550862" y="2274766"/>
            <a:chExt cx="8669338" cy="601760"/>
          </a:xfrm>
        </p:grpSpPr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C4FD0628-ABD9-5B37-78D2-44BD735879FD}"/>
                </a:ext>
              </a:extLst>
            </p:cNvPr>
            <p:cNvSpPr txBox="1">
              <a:spLocks/>
            </p:cNvSpPr>
            <p:nvPr/>
          </p:nvSpPr>
          <p:spPr>
            <a:xfrm>
              <a:off x="1379614" y="2437147"/>
              <a:ext cx="784058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+mn-ea"/>
                  <a:cs typeface="Arial" panose="020B0604020202020204" pitchFamily="34" charset="0"/>
                </a:rPr>
                <a:t>Insert Text Here</a:t>
              </a:r>
            </a:p>
          </p:txBody>
        </p: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CC5629A1-E482-CB9C-E0A4-23C44F649518}"/>
                </a:ext>
              </a:extLst>
            </p:cNvPr>
            <p:cNvGrpSpPr/>
            <p:nvPr/>
          </p:nvGrpSpPr>
          <p:grpSpPr>
            <a:xfrm>
              <a:off x="550862" y="2274766"/>
              <a:ext cx="603372" cy="601760"/>
              <a:chOff x="454269" y="1828800"/>
              <a:chExt cx="839005" cy="836765"/>
            </a:xfrm>
          </p:grpSpPr>
          <p:sp>
            <p:nvSpPr>
              <p:cNvPr id="22" name="Freeform 48">
                <a:extLst>
                  <a:ext uri="{FF2B5EF4-FFF2-40B4-BE49-F238E27FC236}">
                    <a16:creationId xmlns:a16="http://schemas.microsoft.com/office/drawing/2014/main" id="{54435D35-1F68-0449-098E-31566DDEC40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4269" y="1828800"/>
                <a:ext cx="839005" cy="836765"/>
              </a:xfrm>
              <a:custGeom>
                <a:avLst/>
                <a:gdLst>
                  <a:gd name="T0" fmla="*/ 151 w 158"/>
                  <a:gd name="T1" fmla="*/ 64 h 158"/>
                  <a:gd name="T2" fmla="*/ 137 w 158"/>
                  <a:gd name="T3" fmla="*/ 60 h 158"/>
                  <a:gd name="T4" fmla="*/ 133 w 158"/>
                  <a:gd name="T5" fmla="*/ 51 h 158"/>
                  <a:gd name="T6" fmla="*/ 141 w 158"/>
                  <a:gd name="T7" fmla="*/ 39 h 158"/>
                  <a:gd name="T8" fmla="*/ 139 w 158"/>
                  <a:gd name="T9" fmla="*/ 26 h 158"/>
                  <a:gd name="T10" fmla="*/ 132 w 158"/>
                  <a:gd name="T11" fmla="*/ 19 h 158"/>
                  <a:gd name="T12" fmla="*/ 119 w 158"/>
                  <a:gd name="T13" fmla="*/ 18 h 158"/>
                  <a:gd name="T14" fmla="*/ 107 w 158"/>
                  <a:gd name="T15" fmla="*/ 25 h 158"/>
                  <a:gd name="T16" fmla="*/ 98 w 158"/>
                  <a:gd name="T17" fmla="*/ 21 h 158"/>
                  <a:gd name="T18" fmla="*/ 95 w 158"/>
                  <a:gd name="T19" fmla="*/ 7 h 158"/>
                  <a:gd name="T20" fmla="*/ 84 w 158"/>
                  <a:gd name="T21" fmla="*/ 0 h 158"/>
                  <a:gd name="T22" fmla="*/ 74 w 158"/>
                  <a:gd name="T23" fmla="*/ 0 h 158"/>
                  <a:gd name="T24" fmla="*/ 64 w 158"/>
                  <a:gd name="T25" fmla="*/ 7 h 158"/>
                  <a:gd name="T26" fmla="*/ 61 w 158"/>
                  <a:gd name="T27" fmla="*/ 21 h 158"/>
                  <a:gd name="T28" fmla="*/ 52 w 158"/>
                  <a:gd name="T29" fmla="*/ 25 h 158"/>
                  <a:gd name="T30" fmla="*/ 40 w 158"/>
                  <a:gd name="T31" fmla="*/ 18 h 158"/>
                  <a:gd name="T32" fmla="*/ 27 w 158"/>
                  <a:gd name="T33" fmla="*/ 19 h 158"/>
                  <a:gd name="T34" fmla="*/ 20 w 158"/>
                  <a:gd name="T35" fmla="*/ 26 h 158"/>
                  <a:gd name="T36" fmla="*/ 18 w 158"/>
                  <a:gd name="T37" fmla="*/ 39 h 158"/>
                  <a:gd name="T38" fmla="*/ 26 w 158"/>
                  <a:gd name="T39" fmla="*/ 51 h 158"/>
                  <a:gd name="T40" fmla="*/ 22 w 158"/>
                  <a:gd name="T41" fmla="*/ 60 h 158"/>
                  <a:gd name="T42" fmla="*/ 8 w 158"/>
                  <a:gd name="T43" fmla="*/ 64 h 158"/>
                  <a:gd name="T44" fmla="*/ 0 w 158"/>
                  <a:gd name="T45" fmla="*/ 74 h 158"/>
                  <a:gd name="T46" fmla="*/ 0 w 158"/>
                  <a:gd name="T47" fmla="*/ 84 h 158"/>
                  <a:gd name="T48" fmla="*/ 8 w 158"/>
                  <a:gd name="T49" fmla="*/ 94 h 158"/>
                  <a:gd name="T50" fmla="*/ 22 w 158"/>
                  <a:gd name="T51" fmla="*/ 98 h 158"/>
                  <a:gd name="T52" fmla="*/ 26 w 158"/>
                  <a:gd name="T53" fmla="*/ 106 h 158"/>
                  <a:gd name="T54" fmla="*/ 18 w 158"/>
                  <a:gd name="T55" fmla="*/ 118 h 158"/>
                  <a:gd name="T56" fmla="*/ 20 w 158"/>
                  <a:gd name="T57" fmla="*/ 131 h 158"/>
                  <a:gd name="T58" fmla="*/ 27 w 158"/>
                  <a:gd name="T59" fmla="*/ 138 h 158"/>
                  <a:gd name="T60" fmla="*/ 40 w 158"/>
                  <a:gd name="T61" fmla="*/ 140 h 158"/>
                  <a:gd name="T62" fmla="*/ 52 w 158"/>
                  <a:gd name="T63" fmla="*/ 133 h 158"/>
                  <a:gd name="T64" fmla="*/ 61 w 158"/>
                  <a:gd name="T65" fmla="*/ 136 h 158"/>
                  <a:gd name="T66" fmla="*/ 64 w 158"/>
                  <a:gd name="T67" fmla="*/ 150 h 158"/>
                  <a:gd name="T68" fmla="*/ 74 w 158"/>
                  <a:gd name="T69" fmla="*/ 158 h 158"/>
                  <a:gd name="T70" fmla="*/ 84 w 158"/>
                  <a:gd name="T71" fmla="*/ 158 h 158"/>
                  <a:gd name="T72" fmla="*/ 95 w 158"/>
                  <a:gd name="T73" fmla="*/ 150 h 158"/>
                  <a:gd name="T74" fmla="*/ 98 w 158"/>
                  <a:gd name="T75" fmla="*/ 136 h 158"/>
                  <a:gd name="T76" fmla="*/ 107 w 158"/>
                  <a:gd name="T77" fmla="*/ 133 h 158"/>
                  <a:gd name="T78" fmla="*/ 119 w 158"/>
                  <a:gd name="T79" fmla="*/ 140 h 158"/>
                  <a:gd name="T80" fmla="*/ 132 w 158"/>
                  <a:gd name="T81" fmla="*/ 138 h 158"/>
                  <a:gd name="T82" fmla="*/ 139 w 158"/>
                  <a:gd name="T83" fmla="*/ 131 h 158"/>
                  <a:gd name="T84" fmla="*/ 141 w 158"/>
                  <a:gd name="T85" fmla="*/ 118 h 158"/>
                  <a:gd name="T86" fmla="*/ 133 w 158"/>
                  <a:gd name="T87" fmla="*/ 106 h 158"/>
                  <a:gd name="T88" fmla="*/ 137 w 158"/>
                  <a:gd name="T89" fmla="*/ 98 h 158"/>
                  <a:gd name="T90" fmla="*/ 151 w 158"/>
                  <a:gd name="T91" fmla="*/ 94 h 158"/>
                  <a:gd name="T92" fmla="*/ 158 w 158"/>
                  <a:gd name="T93" fmla="*/ 84 h 158"/>
                  <a:gd name="T94" fmla="*/ 158 w 158"/>
                  <a:gd name="T95" fmla="*/ 74 h 158"/>
                  <a:gd name="T96" fmla="*/ 151 w 158"/>
                  <a:gd name="T97" fmla="*/ 64 h 158"/>
                  <a:gd name="T98" fmla="*/ 79 w 158"/>
                  <a:gd name="T99" fmla="*/ 127 h 158"/>
                  <a:gd name="T100" fmla="*/ 32 w 158"/>
                  <a:gd name="T101" fmla="*/ 79 h 158"/>
                  <a:gd name="T102" fmla="*/ 79 w 158"/>
                  <a:gd name="T103" fmla="*/ 31 h 158"/>
                  <a:gd name="T104" fmla="*/ 127 w 158"/>
                  <a:gd name="T105" fmla="*/ 79 h 158"/>
                  <a:gd name="T106" fmla="*/ 79 w 158"/>
                  <a:gd name="T107" fmla="*/ 127 h 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58" h="158">
                    <a:moveTo>
                      <a:pt x="151" y="64"/>
                    </a:moveTo>
                    <a:cubicBezTo>
                      <a:pt x="137" y="60"/>
                      <a:pt x="137" y="60"/>
                      <a:pt x="137" y="60"/>
                    </a:cubicBezTo>
                    <a:cubicBezTo>
                      <a:pt x="136" y="57"/>
                      <a:pt x="135" y="54"/>
                      <a:pt x="133" y="51"/>
                    </a:cubicBezTo>
                    <a:cubicBezTo>
                      <a:pt x="141" y="39"/>
                      <a:pt x="141" y="39"/>
                      <a:pt x="141" y="39"/>
                    </a:cubicBezTo>
                    <a:cubicBezTo>
                      <a:pt x="143" y="35"/>
                      <a:pt x="142" y="30"/>
                      <a:pt x="139" y="26"/>
                    </a:cubicBezTo>
                    <a:cubicBezTo>
                      <a:pt x="132" y="19"/>
                      <a:pt x="132" y="19"/>
                      <a:pt x="132" y="19"/>
                    </a:cubicBezTo>
                    <a:cubicBezTo>
                      <a:pt x="129" y="16"/>
                      <a:pt x="123" y="15"/>
                      <a:pt x="119" y="18"/>
                    </a:cubicBezTo>
                    <a:cubicBezTo>
                      <a:pt x="107" y="25"/>
                      <a:pt x="107" y="25"/>
                      <a:pt x="107" y="25"/>
                    </a:cubicBezTo>
                    <a:cubicBezTo>
                      <a:pt x="104" y="23"/>
                      <a:pt x="101" y="22"/>
                      <a:pt x="98" y="21"/>
                    </a:cubicBezTo>
                    <a:cubicBezTo>
                      <a:pt x="95" y="7"/>
                      <a:pt x="95" y="7"/>
                      <a:pt x="95" y="7"/>
                    </a:cubicBezTo>
                    <a:cubicBezTo>
                      <a:pt x="93" y="3"/>
                      <a:pt x="89" y="0"/>
                      <a:pt x="84" y="0"/>
                    </a:cubicBezTo>
                    <a:cubicBezTo>
                      <a:pt x="74" y="0"/>
                      <a:pt x="74" y="0"/>
                      <a:pt x="74" y="0"/>
                    </a:cubicBezTo>
                    <a:cubicBezTo>
                      <a:pt x="70" y="0"/>
                      <a:pt x="66" y="3"/>
                      <a:pt x="64" y="7"/>
                    </a:cubicBezTo>
                    <a:cubicBezTo>
                      <a:pt x="61" y="21"/>
                      <a:pt x="61" y="21"/>
                      <a:pt x="61" y="21"/>
                    </a:cubicBezTo>
                    <a:cubicBezTo>
                      <a:pt x="58" y="22"/>
                      <a:pt x="55" y="23"/>
                      <a:pt x="52" y="25"/>
                    </a:cubicBezTo>
                    <a:cubicBezTo>
                      <a:pt x="40" y="18"/>
                      <a:pt x="40" y="18"/>
                      <a:pt x="40" y="18"/>
                    </a:cubicBezTo>
                    <a:cubicBezTo>
                      <a:pt x="36" y="15"/>
                      <a:pt x="30" y="16"/>
                      <a:pt x="27" y="19"/>
                    </a:cubicBezTo>
                    <a:cubicBezTo>
                      <a:pt x="20" y="26"/>
                      <a:pt x="20" y="26"/>
                      <a:pt x="20" y="26"/>
                    </a:cubicBezTo>
                    <a:cubicBezTo>
                      <a:pt x="17" y="30"/>
                      <a:pt x="16" y="35"/>
                      <a:pt x="18" y="39"/>
                    </a:cubicBezTo>
                    <a:cubicBezTo>
                      <a:pt x="26" y="51"/>
                      <a:pt x="26" y="51"/>
                      <a:pt x="26" y="51"/>
                    </a:cubicBezTo>
                    <a:cubicBezTo>
                      <a:pt x="24" y="54"/>
                      <a:pt x="23" y="57"/>
                      <a:pt x="22" y="60"/>
                    </a:cubicBezTo>
                    <a:cubicBezTo>
                      <a:pt x="8" y="64"/>
                      <a:pt x="8" y="64"/>
                      <a:pt x="8" y="64"/>
                    </a:cubicBezTo>
                    <a:cubicBezTo>
                      <a:pt x="4" y="65"/>
                      <a:pt x="0" y="69"/>
                      <a:pt x="0" y="74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0" y="88"/>
                      <a:pt x="4" y="93"/>
                      <a:pt x="8" y="94"/>
                    </a:cubicBezTo>
                    <a:cubicBezTo>
                      <a:pt x="22" y="98"/>
                      <a:pt x="22" y="98"/>
                      <a:pt x="22" y="98"/>
                    </a:cubicBezTo>
                    <a:cubicBezTo>
                      <a:pt x="23" y="100"/>
                      <a:pt x="24" y="103"/>
                      <a:pt x="26" y="106"/>
                    </a:cubicBezTo>
                    <a:cubicBezTo>
                      <a:pt x="18" y="118"/>
                      <a:pt x="18" y="118"/>
                      <a:pt x="18" y="118"/>
                    </a:cubicBezTo>
                    <a:cubicBezTo>
                      <a:pt x="16" y="122"/>
                      <a:pt x="17" y="128"/>
                      <a:pt x="20" y="131"/>
                    </a:cubicBezTo>
                    <a:cubicBezTo>
                      <a:pt x="27" y="138"/>
                      <a:pt x="27" y="138"/>
                      <a:pt x="27" y="138"/>
                    </a:cubicBezTo>
                    <a:cubicBezTo>
                      <a:pt x="30" y="141"/>
                      <a:pt x="36" y="142"/>
                      <a:pt x="40" y="140"/>
                    </a:cubicBezTo>
                    <a:cubicBezTo>
                      <a:pt x="52" y="133"/>
                      <a:pt x="52" y="133"/>
                      <a:pt x="52" y="133"/>
                    </a:cubicBezTo>
                    <a:cubicBezTo>
                      <a:pt x="55" y="134"/>
                      <a:pt x="58" y="135"/>
                      <a:pt x="61" y="136"/>
                    </a:cubicBezTo>
                    <a:cubicBezTo>
                      <a:pt x="64" y="150"/>
                      <a:pt x="64" y="150"/>
                      <a:pt x="64" y="150"/>
                    </a:cubicBezTo>
                    <a:cubicBezTo>
                      <a:pt x="66" y="154"/>
                      <a:pt x="70" y="158"/>
                      <a:pt x="74" y="158"/>
                    </a:cubicBezTo>
                    <a:cubicBezTo>
                      <a:pt x="84" y="158"/>
                      <a:pt x="84" y="158"/>
                      <a:pt x="84" y="158"/>
                    </a:cubicBezTo>
                    <a:cubicBezTo>
                      <a:pt x="89" y="158"/>
                      <a:pt x="93" y="154"/>
                      <a:pt x="95" y="150"/>
                    </a:cubicBezTo>
                    <a:cubicBezTo>
                      <a:pt x="98" y="136"/>
                      <a:pt x="98" y="136"/>
                      <a:pt x="98" y="136"/>
                    </a:cubicBezTo>
                    <a:cubicBezTo>
                      <a:pt x="101" y="135"/>
                      <a:pt x="104" y="134"/>
                      <a:pt x="107" y="133"/>
                    </a:cubicBezTo>
                    <a:cubicBezTo>
                      <a:pt x="119" y="140"/>
                      <a:pt x="119" y="140"/>
                      <a:pt x="119" y="140"/>
                    </a:cubicBezTo>
                    <a:cubicBezTo>
                      <a:pt x="123" y="142"/>
                      <a:pt x="129" y="141"/>
                      <a:pt x="132" y="138"/>
                    </a:cubicBezTo>
                    <a:cubicBezTo>
                      <a:pt x="139" y="131"/>
                      <a:pt x="139" y="131"/>
                      <a:pt x="139" y="131"/>
                    </a:cubicBezTo>
                    <a:cubicBezTo>
                      <a:pt x="142" y="128"/>
                      <a:pt x="143" y="122"/>
                      <a:pt x="141" y="118"/>
                    </a:cubicBezTo>
                    <a:cubicBezTo>
                      <a:pt x="133" y="106"/>
                      <a:pt x="133" y="106"/>
                      <a:pt x="133" y="106"/>
                    </a:cubicBezTo>
                    <a:cubicBezTo>
                      <a:pt x="135" y="103"/>
                      <a:pt x="136" y="100"/>
                      <a:pt x="137" y="98"/>
                    </a:cubicBezTo>
                    <a:cubicBezTo>
                      <a:pt x="151" y="94"/>
                      <a:pt x="151" y="94"/>
                      <a:pt x="151" y="94"/>
                    </a:cubicBezTo>
                    <a:cubicBezTo>
                      <a:pt x="155" y="93"/>
                      <a:pt x="158" y="88"/>
                      <a:pt x="158" y="84"/>
                    </a:cubicBezTo>
                    <a:cubicBezTo>
                      <a:pt x="158" y="74"/>
                      <a:pt x="158" y="74"/>
                      <a:pt x="158" y="74"/>
                    </a:cubicBezTo>
                    <a:cubicBezTo>
                      <a:pt x="158" y="69"/>
                      <a:pt x="155" y="65"/>
                      <a:pt x="151" y="64"/>
                    </a:cubicBezTo>
                    <a:close/>
                    <a:moveTo>
                      <a:pt x="79" y="127"/>
                    </a:moveTo>
                    <a:cubicBezTo>
                      <a:pt x="53" y="127"/>
                      <a:pt x="32" y="105"/>
                      <a:pt x="32" y="79"/>
                    </a:cubicBezTo>
                    <a:cubicBezTo>
                      <a:pt x="32" y="52"/>
                      <a:pt x="53" y="31"/>
                      <a:pt x="79" y="31"/>
                    </a:cubicBezTo>
                    <a:cubicBezTo>
                      <a:pt x="106" y="31"/>
                      <a:pt x="127" y="52"/>
                      <a:pt x="127" y="79"/>
                    </a:cubicBezTo>
                    <a:cubicBezTo>
                      <a:pt x="127" y="105"/>
                      <a:pt x="106" y="127"/>
                      <a:pt x="79" y="127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23" name="Oval 22">
                <a:extLst>
                  <a:ext uri="{FF2B5EF4-FFF2-40B4-BE49-F238E27FC236}">
                    <a16:creationId xmlns:a16="http://schemas.microsoft.com/office/drawing/2014/main" id="{4B7057F8-B748-C5E9-D9A9-75E7CA74A6A7}"/>
                  </a:ext>
                </a:extLst>
              </p:cNvPr>
              <p:cNvSpPr/>
              <p:nvPr/>
            </p:nvSpPr>
            <p:spPr>
              <a:xfrm>
                <a:off x="604542" y="1977953"/>
                <a:ext cx="538458" cy="538458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sp>
          <p:nvSpPr>
            <p:cNvPr id="21" name="Freeform 99">
              <a:extLst>
                <a:ext uri="{FF2B5EF4-FFF2-40B4-BE49-F238E27FC236}">
                  <a16:creationId xmlns:a16="http://schemas.microsoft.com/office/drawing/2014/main" id="{B04E97BB-C475-7E3D-84DF-EF1F8A688FB3}"/>
                </a:ext>
              </a:extLst>
            </p:cNvPr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741792" y="2365046"/>
              <a:ext cx="345852" cy="305232"/>
            </a:xfrm>
            <a:custGeom>
              <a:avLst/>
              <a:gdLst>
                <a:gd name="T0" fmla="*/ 3040 w 3040"/>
                <a:gd name="T1" fmla="*/ 109 h 2884"/>
                <a:gd name="T2" fmla="*/ 2860 w 3040"/>
                <a:gd name="T3" fmla="*/ 256 h 2884"/>
                <a:gd name="T4" fmla="*/ 2673 w 3040"/>
                <a:gd name="T5" fmla="*/ 428 h 2884"/>
                <a:gd name="T6" fmla="*/ 2479 w 3040"/>
                <a:gd name="T7" fmla="*/ 627 h 2884"/>
                <a:gd name="T8" fmla="*/ 2277 w 3040"/>
                <a:gd name="T9" fmla="*/ 853 h 2884"/>
                <a:gd name="T10" fmla="*/ 2067 w 3040"/>
                <a:gd name="T11" fmla="*/ 1106 h 2884"/>
                <a:gd name="T12" fmla="*/ 1926 w 3040"/>
                <a:gd name="T13" fmla="*/ 1287 h 2884"/>
                <a:gd name="T14" fmla="*/ 1727 w 3040"/>
                <a:gd name="T15" fmla="*/ 1556 h 2884"/>
                <a:gd name="T16" fmla="*/ 1546 w 3040"/>
                <a:gd name="T17" fmla="*/ 1819 h 2884"/>
                <a:gd name="T18" fmla="*/ 1385 w 3040"/>
                <a:gd name="T19" fmla="*/ 2076 h 2884"/>
                <a:gd name="T20" fmla="*/ 1243 w 3040"/>
                <a:gd name="T21" fmla="*/ 2324 h 2884"/>
                <a:gd name="T22" fmla="*/ 1120 w 3040"/>
                <a:gd name="T23" fmla="*/ 2567 h 2884"/>
                <a:gd name="T24" fmla="*/ 865 w 3040"/>
                <a:gd name="T25" fmla="*/ 2741 h 2884"/>
                <a:gd name="T26" fmla="*/ 704 w 3040"/>
                <a:gd name="T27" fmla="*/ 2867 h 2884"/>
                <a:gd name="T28" fmla="*/ 675 w 3040"/>
                <a:gd name="T29" fmla="*/ 2856 h 2884"/>
                <a:gd name="T30" fmla="*/ 603 w 3040"/>
                <a:gd name="T31" fmla="*/ 2655 h 2884"/>
                <a:gd name="T32" fmla="*/ 498 w 3040"/>
                <a:gd name="T33" fmla="*/ 2404 h 2884"/>
                <a:gd name="T34" fmla="*/ 401 w 3040"/>
                <a:gd name="T35" fmla="*/ 2197 h 2884"/>
                <a:gd name="T36" fmla="*/ 311 w 3040"/>
                <a:gd name="T37" fmla="*/ 2034 h 2884"/>
                <a:gd name="T38" fmla="*/ 253 w 3040"/>
                <a:gd name="T39" fmla="*/ 1950 h 2884"/>
                <a:gd name="T40" fmla="*/ 164 w 3040"/>
                <a:gd name="T41" fmla="*/ 1855 h 2884"/>
                <a:gd name="T42" fmla="*/ 69 w 3040"/>
                <a:gd name="T43" fmla="*/ 1786 h 2884"/>
                <a:gd name="T44" fmla="*/ 0 w 3040"/>
                <a:gd name="T45" fmla="*/ 1757 h 2884"/>
                <a:gd name="T46" fmla="*/ 87 w 3040"/>
                <a:gd name="T47" fmla="*/ 1672 h 2884"/>
                <a:gd name="T48" fmla="*/ 172 w 3040"/>
                <a:gd name="T49" fmla="*/ 1605 h 2884"/>
                <a:gd name="T50" fmla="*/ 254 w 3040"/>
                <a:gd name="T51" fmla="*/ 1555 h 2884"/>
                <a:gd name="T52" fmla="*/ 332 w 3040"/>
                <a:gd name="T53" fmla="*/ 1523 h 2884"/>
                <a:gd name="T54" fmla="*/ 409 w 3040"/>
                <a:gd name="T55" fmla="*/ 1508 h 2884"/>
                <a:gd name="T56" fmla="*/ 444 w 3040"/>
                <a:gd name="T57" fmla="*/ 1507 h 2884"/>
                <a:gd name="T58" fmla="*/ 476 w 3040"/>
                <a:gd name="T59" fmla="*/ 1513 h 2884"/>
                <a:gd name="T60" fmla="*/ 543 w 3040"/>
                <a:gd name="T61" fmla="*/ 1551 h 2884"/>
                <a:gd name="T62" fmla="*/ 612 w 3040"/>
                <a:gd name="T63" fmla="*/ 1621 h 2884"/>
                <a:gd name="T64" fmla="*/ 683 w 3040"/>
                <a:gd name="T65" fmla="*/ 1723 h 2884"/>
                <a:gd name="T66" fmla="*/ 757 w 3040"/>
                <a:gd name="T67" fmla="*/ 1858 h 2884"/>
                <a:gd name="T68" fmla="*/ 877 w 3040"/>
                <a:gd name="T69" fmla="*/ 2117 h 2884"/>
                <a:gd name="T70" fmla="*/ 973 w 3040"/>
                <a:gd name="T71" fmla="*/ 1963 h 2884"/>
                <a:gd name="T72" fmla="*/ 1129 w 3040"/>
                <a:gd name="T73" fmla="*/ 1731 h 2884"/>
                <a:gd name="T74" fmla="*/ 1299 w 3040"/>
                <a:gd name="T75" fmla="*/ 1503 h 2884"/>
                <a:gd name="T76" fmla="*/ 1485 w 3040"/>
                <a:gd name="T77" fmla="*/ 1277 h 2884"/>
                <a:gd name="T78" fmla="*/ 1685 w 3040"/>
                <a:gd name="T79" fmla="*/ 1052 h 2884"/>
                <a:gd name="T80" fmla="*/ 1828 w 3040"/>
                <a:gd name="T81" fmla="*/ 904 h 2884"/>
                <a:gd name="T82" fmla="*/ 2045 w 3040"/>
                <a:gd name="T83" fmla="*/ 693 h 2884"/>
                <a:gd name="T84" fmla="*/ 2260 w 3040"/>
                <a:gd name="T85" fmla="*/ 502 h 2884"/>
                <a:gd name="T86" fmla="*/ 2474 w 3040"/>
                <a:gd name="T87" fmla="*/ 328 h 2884"/>
                <a:gd name="T88" fmla="*/ 2685 w 3040"/>
                <a:gd name="T89" fmla="*/ 175 h 2884"/>
                <a:gd name="T90" fmla="*/ 2893 w 3040"/>
                <a:gd name="T91" fmla="*/ 40 h 28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040" h="2884">
                  <a:moveTo>
                    <a:pt x="2963" y="0"/>
                  </a:moveTo>
                  <a:lnTo>
                    <a:pt x="3040" y="109"/>
                  </a:lnTo>
                  <a:lnTo>
                    <a:pt x="3040" y="109"/>
                  </a:lnTo>
                  <a:lnTo>
                    <a:pt x="2981" y="155"/>
                  </a:lnTo>
                  <a:lnTo>
                    <a:pt x="2922" y="203"/>
                  </a:lnTo>
                  <a:lnTo>
                    <a:pt x="2860" y="256"/>
                  </a:lnTo>
                  <a:lnTo>
                    <a:pt x="2799" y="309"/>
                  </a:lnTo>
                  <a:lnTo>
                    <a:pt x="2736" y="367"/>
                  </a:lnTo>
                  <a:lnTo>
                    <a:pt x="2673" y="428"/>
                  </a:lnTo>
                  <a:lnTo>
                    <a:pt x="2610" y="491"/>
                  </a:lnTo>
                  <a:lnTo>
                    <a:pt x="2545" y="557"/>
                  </a:lnTo>
                  <a:lnTo>
                    <a:pt x="2479" y="627"/>
                  </a:lnTo>
                  <a:lnTo>
                    <a:pt x="2413" y="699"/>
                  </a:lnTo>
                  <a:lnTo>
                    <a:pt x="2346" y="775"/>
                  </a:lnTo>
                  <a:lnTo>
                    <a:pt x="2277" y="853"/>
                  </a:lnTo>
                  <a:lnTo>
                    <a:pt x="2209" y="934"/>
                  </a:lnTo>
                  <a:lnTo>
                    <a:pt x="2139" y="1018"/>
                  </a:lnTo>
                  <a:lnTo>
                    <a:pt x="2067" y="1106"/>
                  </a:lnTo>
                  <a:lnTo>
                    <a:pt x="1996" y="1196"/>
                  </a:lnTo>
                  <a:lnTo>
                    <a:pt x="1996" y="1196"/>
                  </a:lnTo>
                  <a:lnTo>
                    <a:pt x="1926" y="1287"/>
                  </a:lnTo>
                  <a:lnTo>
                    <a:pt x="1858" y="1377"/>
                  </a:lnTo>
                  <a:lnTo>
                    <a:pt x="1790" y="1468"/>
                  </a:lnTo>
                  <a:lnTo>
                    <a:pt x="1727" y="1556"/>
                  </a:lnTo>
                  <a:lnTo>
                    <a:pt x="1664" y="1645"/>
                  </a:lnTo>
                  <a:lnTo>
                    <a:pt x="1605" y="1733"/>
                  </a:lnTo>
                  <a:lnTo>
                    <a:pt x="1546" y="1819"/>
                  </a:lnTo>
                  <a:lnTo>
                    <a:pt x="1490" y="1905"/>
                  </a:lnTo>
                  <a:lnTo>
                    <a:pt x="1437" y="1991"/>
                  </a:lnTo>
                  <a:lnTo>
                    <a:pt x="1385" y="2076"/>
                  </a:lnTo>
                  <a:lnTo>
                    <a:pt x="1336" y="2159"/>
                  </a:lnTo>
                  <a:lnTo>
                    <a:pt x="1289" y="2242"/>
                  </a:lnTo>
                  <a:lnTo>
                    <a:pt x="1243" y="2324"/>
                  </a:lnTo>
                  <a:lnTo>
                    <a:pt x="1200" y="2405"/>
                  </a:lnTo>
                  <a:lnTo>
                    <a:pt x="1160" y="2486"/>
                  </a:lnTo>
                  <a:lnTo>
                    <a:pt x="1120" y="2567"/>
                  </a:lnTo>
                  <a:lnTo>
                    <a:pt x="958" y="2676"/>
                  </a:lnTo>
                  <a:lnTo>
                    <a:pt x="958" y="2676"/>
                  </a:lnTo>
                  <a:lnTo>
                    <a:pt x="865" y="2741"/>
                  </a:lnTo>
                  <a:lnTo>
                    <a:pt x="788" y="2798"/>
                  </a:lnTo>
                  <a:lnTo>
                    <a:pt x="728" y="2845"/>
                  </a:lnTo>
                  <a:lnTo>
                    <a:pt x="704" y="2867"/>
                  </a:lnTo>
                  <a:lnTo>
                    <a:pt x="683" y="2884"/>
                  </a:lnTo>
                  <a:lnTo>
                    <a:pt x="683" y="2884"/>
                  </a:lnTo>
                  <a:lnTo>
                    <a:pt x="675" y="2856"/>
                  </a:lnTo>
                  <a:lnTo>
                    <a:pt x="666" y="2825"/>
                  </a:lnTo>
                  <a:lnTo>
                    <a:pt x="639" y="2748"/>
                  </a:lnTo>
                  <a:lnTo>
                    <a:pt x="603" y="2655"/>
                  </a:lnTo>
                  <a:lnTo>
                    <a:pt x="560" y="2546"/>
                  </a:lnTo>
                  <a:lnTo>
                    <a:pt x="498" y="2404"/>
                  </a:lnTo>
                  <a:lnTo>
                    <a:pt x="498" y="2404"/>
                  </a:lnTo>
                  <a:lnTo>
                    <a:pt x="465" y="2330"/>
                  </a:lnTo>
                  <a:lnTo>
                    <a:pt x="433" y="2261"/>
                  </a:lnTo>
                  <a:lnTo>
                    <a:pt x="401" y="2197"/>
                  </a:lnTo>
                  <a:lnTo>
                    <a:pt x="371" y="2137"/>
                  </a:lnTo>
                  <a:lnTo>
                    <a:pt x="340" y="2084"/>
                  </a:lnTo>
                  <a:lnTo>
                    <a:pt x="311" y="2034"/>
                  </a:lnTo>
                  <a:lnTo>
                    <a:pt x="281" y="1991"/>
                  </a:lnTo>
                  <a:lnTo>
                    <a:pt x="253" y="1950"/>
                  </a:lnTo>
                  <a:lnTo>
                    <a:pt x="253" y="1950"/>
                  </a:lnTo>
                  <a:lnTo>
                    <a:pt x="225" y="1915"/>
                  </a:lnTo>
                  <a:lnTo>
                    <a:pt x="195" y="1885"/>
                  </a:lnTo>
                  <a:lnTo>
                    <a:pt x="164" y="1855"/>
                  </a:lnTo>
                  <a:lnTo>
                    <a:pt x="133" y="1829"/>
                  </a:lnTo>
                  <a:lnTo>
                    <a:pt x="101" y="1807"/>
                  </a:lnTo>
                  <a:lnTo>
                    <a:pt x="69" y="1786"/>
                  </a:lnTo>
                  <a:lnTo>
                    <a:pt x="35" y="1770"/>
                  </a:lnTo>
                  <a:lnTo>
                    <a:pt x="0" y="1757"/>
                  </a:lnTo>
                  <a:lnTo>
                    <a:pt x="0" y="1757"/>
                  </a:lnTo>
                  <a:lnTo>
                    <a:pt x="30" y="1726"/>
                  </a:lnTo>
                  <a:lnTo>
                    <a:pt x="59" y="1698"/>
                  </a:lnTo>
                  <a:lnTo>
                    <a:pt x="87" y="1672"/>
                  </a:lnTo>
                  <a:lnTo>
                    <a:pt x="116" y="1646"/>
                  </a:lnTo>
                  <a:lnTo>
                    <a:pt x="144" y="1625"/>
                  </a:lnTo>
                  <a:lnTo>
                    <a:pt x="172" y="1605"/>
                  </a:lnTo>
                  <a:lnTo>
                    <a:pt x="199" y="1586"/>
                  </a:lnTo>
                  <a:lnTo>
                    <a:pt x="227" y="1568"/>
                  </a:lnTo>
                  <a:lnTo>
                    <a:pt x="254" y="1555"/>
                  </a:lnTo>
                  <a:lnTo>
                    <a:pt x="281" y="1542"/>
                  </a:lnTo>
                  <a:lnTo>
                    <a:pt x="307" y="1531"/>
                  </a:lnTo>
                  <a:lnTo>
                    <a:pt x="332" y="1523"/>
                  </a:lnTo>
                  <a:lnTo>
                    <a:pt x="359" y="1516"/>
                  </a:lnTo>
                  <a:lnTo>
                    <a:pt x="385" y="1511"/>
                  </a:lnTo>
                  <a:lnTo>
                    <a:pt x="409" y="1508"/>
                  </a:lnTo>
                  <a:lnTo>
                    <a:pt x="434" y="1507"/>
                  </a:lnTo>
                  <a:lnTo>
                    <a:pt x="434" y="1507"/>
                  </a:lnTo>
                  <a:lnTo>
                    <a:pt x="444" y="1507"/>
                  </a:lnTo>
                  <a:lnTo>
                    <a:pt x="455" y="1508"/>
                  </a:lnTo>
                  <a:lnTo>
                    <a:pt x="465" y="1511"/>
                  </a:lnTo>
                  <a:lnTo>
                    <a:pt x="476" y="1513"/>
                  </a:lnTo>
                  <a:lnTo>
                    <a:pt x="499" y="1523"/>
                  </a:lnTo>
                  <a:lnTo>
                    <a:pt x="521" y="1535"/>
                  </a:lnTo>
                  <a:lnTo>
                    <a:pt x="543" y="1551"/>
                  </a:lnTo>
                  <a:lnTo>
                    <a:pt x="566" y="1571"/>
                  </a:lnTo>
                  <a:lnTo>
                    <a:pt x="589" y="1594"/>
                  </a:lnTo>
                  <a:lnTo>
                    <a:pt x="612" y="1621"/>
                  </a:lnTo>
                  <a:lnTo>
                    <a:pt x="636" y="1652"/>
                  </a:lnTo>
                  <a:lnTo>
                    <a:pt x="659" y="1685"/>
                  </a:lnTo>
                  <a:lnTo>
                    <a:pt x="683" y="1723"/>
                  </a:lnTo>
                  <a:lnTo>
                    <a:pt x="708" y="1763"/>
                  </a:lnTo>
                  <a:lnTo>
                    <a:pt x="733" y="1809"/>
                  </a:lnTo>
                  <a:lnTo>
                    <a:pt x="757" y="1858"/>
                  </a:lnTo>
                  <a:lnTo>
                    <a:pt x="783" y="1909"/>
                  </a:lnTo>
                  <a:lnTo>
                    <a:pt x="808" y="1964"/>
                  </a:lnTo>
                  <a:lnTo>
                    <a:pt x="877" y="2117"/>
                  </a:lnTo>
                  <a:lnTo>
                    <a:pt x="877" y="2117"/>
                  </a:lnTo>
                  <a:lnTo>
                    <a:pt x="924" y="2039"/>
                  </a:lnTo>
                  <a:lnTo>
                    <a:pt x="973" y="1963"/>
                  </a:lnTo>
                  <a:lnTo>
                    <a:pt x="1024" y="1885"/>
                  </a:lnTo>
                  <a:lnTo>
                    <a:pt x="1075" y="1808"/>
                  </a:lnTo>
                  <a:lnTo>
                    <a:pt x="1129" y="1731"/>
                  </a:lnTo>
                  <a:lnTo>
                    <a:pt x="1184" y="1655"/>
                  </a:lnTo>
                  <a:lnTo>
                    <a:pt x="1242" y="1578"/>
                  </a:lnTo>
                  <a:lnTo>
                    <a:pt x="1299" y="1503"/>
                  </a:lnTo>
                  <a:lnTo>
                    <a:pt x="1360" y="1427"/>
                  </a:lnTo>
                  <a:lnTo>
                    <a:pt x="1422" y="1351"/>
                  </a:lnTo>
                  <a:lnTo>
                    <a:pt x="1485" y="1277"/>
                  </a:lnTo>
                  <a:lnTo>
                    <a:pt x="1551" y="1201"/>
                  </a:lnTo>
                  <a:lnTo>
                    <a:pt x="1618" y="1127"/>
                  </a:lnTo>
                  <a:lnTo>
                    <a:pt x="1685" y="1052"/>
                  </a:lnTo>
                  <a:lnTo>
                    <a:pt x="1757" y="978"/>
                  </a:lnTo>
                  <a:lnTo>
                    <a:pt x="1828" y="904"/>
                  </a:lnTo>
                  <a:lnTo>
                    <a:pt x="1828" y="904"/>
                  </a:lnTo>
                  <a:lnTo>
                    <a:pt x="1901" y="831"/>
                  </a:lnTo>
                  <a:lnTo>
                    <a:pt x="1973" y="761"/>
                  </a:lnTo>
                  <a:lnTo>
                    <a:pt x="2045" y="693"/>
                  </a:lnTo>
                  <a:lnTo>
                    <a:pt x="2117" y="627"/>
                  </a:lnTo>
                  <a:lnTo>
                    <a:pt x="2189" y="564"/>
                  </a:lnTo>
                  <a:lnTo>
                    <a:pt x="2260" y="502"/>
                  </a:lnTo>
                  <a:lnTo>
                    <a:pt x="2331" y="441"/>
                  </a:lnTo>
                  <a:lnTo>
                    <a:pt x="2402" y="383"/>
                  </a:lnTo>
                  <a:lnTo>
                    <a:pt x="2474" y="328"/>
                  </a:lnTo>
                  <a:lnTo>
                    <a:pt x="2544" y="274"/>
                  </a:lnTo>
                  <a:lnTo>
                    <a:pt x="2614" y="223"/>
                  </a:lnTo>
                  <a:lnTo>
                    <a:pt x="2685" y="175"/>
                  </a:lnTo>
                  <a:lnTo>
                    <a:pt x="2755" y="128"/>
                  </a:lnTo>
                  <a:lnTo>
                    <a:pt x="2825" y="83"/>
                  </a:lnTo>
                  <a:lnTo>
                    <a:pt x="2893" y="40"/>
                  </a:lnTo>
                  <a:lnTo>
                    <a:pt x="2963" y="0"/>
                  </a:lnTo>
                  <a:lnTo>
                    <a:pt x="2963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68576" tIns="34288" rIns="68576" bIns="3428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2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7DF1E0B3-21BA-DF8F-572F-CBAF307E60A1}"/>
              </a:ext>
            </a:extLst>
          </p:cNvPr>
          <p:cNvGrpSpPr/>
          <p:nvPr/>
        </p:nvGrpSpPr>
        <p:grpSpPr>
          <a:xfrm>
            <a:off x="419099" y="4620945"/>
            <a:ext cx="8669338" cy="601760"/>
            <a:chOff x="550862" y="2274766"/>
            <a:chExt cx="8669338" cy="601760"/>
          </a:xfrm>
        </p:grpSpPr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2493769E-2A05-DA6F-D8D7-94624DC2D8FF}"/>
                </a:ext>
              </a:extLst>
            </p:cNvPr>
            <p:cNvSpPr txBox="1">
              <a:spLocks/>
            </p:cNvSpPr>
            <p:nvPr/>
          </p:nvSpPr>
          <p:spPr>
            <a:xfrm>
              <a:off x="1379614" y="2437147"/>
              <a:ext cx="784058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+mn-ea"/>
                  <a:cs typeface="Arial" panose="020B0604020202020204" pitchFamily="34" charset="0"/>
                </a:rPr>
                <a:t>Insert Text Here</a:t>
              </a:r>
            </a:p>
          </p:txBody>
        </p: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0A274BDF-52C7-3282-BCC4-7F6CB757B329}"/>
                </a:ext>
              </a:extLst>
            </p:cNvPr>
            <p:cNvGrpSpPr/>
            <p:nvPr/>
          </p:nvGrpSpPr>
          <p:grpSpPr>
            <a:xfrm>
              <a:off x="550862" y="2274766"/>
              <a:ext cx="603372" cy="601760"/>
              <a:chOff x="454269" y="1828800"/>
              <a:chExt cx="839005" cy="836765"/>
            </a:xfrm>
          </p:grpSpPr>
          <p:sp>
            <p:nvSpPr>
              <p:cNvPr id="28" name="Freeform 48">
                <a:extLst>
                  <a:ext uri="{FF2B5EF4-FFF2-40B4-BE49-F238E27FC236}">
                    <a16:creationId xmlns:a16="http://schemas.microsoft.com/office/drawing/2014/main" id="{6B077B3B-252D-4C94-6E26-7F8340A187E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4269" y="1828800"/>
                <a:ext cx="839005" cy="836765"/>
              </a:xfrm>
              <a:custGeom>
                <a:avLst/>
                <a:gdLst>
                  <a:gd name="T0" fmla="*/ 151 w 158"/>
                  <a:gd name="T1" fmla="*/ 64 h 158"/>
                  <a:gd name="T2" fmla="*/ 137 w 158"/>
                  <a:gd name="T3" fmla="*/ 60 h 158"/>
                  <a:gd name="T4" fmla="*/ 133 w 158"/>
                  <a:gd name="T5" fmla="*/ 51 h 158"/>
                  <a:gd name="T6" fmla="*/ 141 w 158"/>
                  <a:gd name="T7" fmla="*/ 39 h 158"/>
                  <a:gd name="T8" fmla="*/ 139 w 158"/>
                  <a:gd name="T9" fmla="*/ 26 h 158"/>
                  <a:gd name="T10" fmla="*/ 132 w 158"/>
                  <a:gd name="T11" fmla="*/ 19 h 158"/>
                  <a:gd name="T12" fmla="*/ 119 w 158"/>
                  <a:gd name="T13" fmla="*/ 18 h 158"/>
                  <a:gd name="T14" fmla="*/ 107 w 158"/>
                  <a:gd name="T15" fmla="*/ 25 h 158"/>
                  <a:gd name="T16" fmla="*/ 98 w 158"/>
                  <a:gd name="T17" fmla="*/ 21 h 158"/>
                  <a:gd name="T18" fmla="*/ 95 w 158"/>
                  <a:gd name="T19" fmla="*/ 7 h 158"/>
                  <a:gd name="T20" fmla="*/ 84 w 158"/>
                  <a:gd name="T21" fmla="*/ 0 h 158"/>
                  <a:gd name="T22" fmla="*/ 74 w 158"/>
                  <a:gd name="T23" fmla="*/ 0 h 158"/>
                  <a:gd name="T24" fmla="*/ 64 w 158"/>
                  <a:gd name="T25" fmla="*/ 7 h 158"/>
                  <a:gd name="T26" fmla="*/ 61 w 158"/>
                  <a:gd name="T27" fmla="*/ 21 h 158"/>
                  <a:gd name="T28" fmla="*/ 52 w 158"/>
                  <a:gd name="T29" fmla="*/ 25 h 158"/>
                  <a:gd name="T30" fmla="*/ 40 w 158"/>
                  <a:gd name="T31" fmla="*/ 18 h 158"/>
                  <a:gd name="T32" fmla="*/ 27 w 158"/>
                  <a:gd name="T33" fmla="*/ 19 h 158"/>
                  <a:gd name="T34" fmla="*/ 20 w 158"/>
                  <a:gd name="T35" fmla="*/ 26 h 158"/>
                  <a:gd name="T36" fmla="*/ 18 w 158"/>
                  <a:gd name="T37" fmla="*/ 39 h 158"/>
                  <a:gd name="T38" fmla="*/ 26 w 158"/>
                  <a:gd name="T39" fmla="*/ 51 h 158"/>
                  <a:gd name="T40" fmla="*/ 22 w 158"/>
                  <a:gd name="T41" fmla="*/ 60 h 158"/>
                  <a:gd name="T42" fmla="*/ 8 w 158"/>
                  <a:gd name="T43" fmla="*/ 64 h 158"/>
                  <a:gd name="T44" fmla="*/ 0 w 158"/>
                  <a:gd name="T45" fmla="*/ 74 h 158"/>
                  <a:gd name="T46" fmla="*/ 0 w 158"/>
                  <a:gd name="T47" fmla="*/ 84 h 158"/>
                  <a:gd name="T48" fmla="*/ 8 w 158"/>
                  <a:gd name="T49" fmla="*/ 94 h 158"/>
                  <a:gd name="T50" fmla="*/ 22 w 158"/>
                  <a:gd name="T51" fmla="*/ 98 h 158"/>
                  <a:gd name="T52" fmla="*/ 26 w 158"/>
                  <a:gd name="T53" fmla="*/ 106 h 158"/>
                  <a:gd name="T54" fmla="*/ 18 w 158"/>
                  <a:gd name="T55" fmla="*/ 118 h 158"/>
                  <a:gd name="T56" fmla="*/ 20 w 158"/>
                  <a:gd name="T57" fmla="*/ 131 h 158"/>
                  <a:gd name="T58" fmla="*/ 27 w 158"/>
                  <a:gd name="T59" fmla="*/ 138 h 158"/>
                  <a:gd name="T60" fmla="*/ 40 w 158"/>
                  <a:gd name="T61" fmla="*/ 140 h 158"/>
                  <a:gd name="T62" fmla="*/ 52 w 158"/>
                  <a:gd name="T63" fmla="*/ 133 h 158"/>
                  <a:gd name="T64" fmla="*/ 61 w 158"/>
                  <a:gd name="T65" fmla="*/ 136 h 158"/>
                  <a:gd name="T66" fmla="*/ 64 w 158"/>
                  <a:gd name="T67" fmla="*/ 150 h 158"/>
                  <a:gd name="T68" fmla="*/ 74 w 158"/>
                  <a:gd name="T69" fmla="*/ 158 h 158"/>
                  <a:gd name="T70" fmla="*/ 84 w 158"/>
                  <a:gd name="T71" fmla="*/ 158 h 158"/>
                  <a:gd name="T72" fmla="*/ 95 w 158"/>
                  <a:gd name="T73" fmla="*/ 150 h 158"/>
                  <a:gd name="T74" fmla="*/ 98 w 158"/>
                  <a:gd name="T75" fmla="*/ 136 h 158"/>
                  <a:gd name="T76" fmla="*/ 107 w 158"/>
                  <a:gd name="T77" fmla="*/ 133 h 158"/>
                  <a:gd name="T78" fmla="*/ 119 w 158"/>
                  <a:gd name="T79" fmla="*/ 140 h 158"/>
                  <a:gd name="T80" fmla="*/ 132 w 158"/>
                  <a:gd name="T81" fmla="*/ 138 h 158"/>
                  <a:gd name="T82" fmla="*/ 139 w 158"/>
                  <a:gd name="T83" fmla="*/ 131 h 158"/>
                  <a:gd name="T84" fmla="*/ 141 w 158"/>
                  <a:gd name="T85" fmla="*/ 118 h 158"/>
                  <a:gd name="T86" fmla="*/ 133 w 158"/>
                  <a:gd name="T87" fmla="*/ 106 h 158"/>
                  <a:gd name="T88" fmla="*/ 137 w 158"/>
                  <a:gd name="T89" fmla="*/ 98 h 158"/>
                  <a:gd name="T90" fmla="*/ 151 w 158"/>
                  <a:gd name="T91" fmla="*/ 94 h 158"/>
                  <a:gd name="T92" fmla="*/ 158 w 158"/>
                  <a:gd name="T93" fmla="*/ 84 h 158"/>
                  <a:gd name="T94" fmla="*/ 158 w 158"/>
                  <a:gd name="T95" fmla="*/ 74 h 158"/>
                  <a:gd name="T96" fmla="*/ 151 w 158"/>
                  <a:gd name="T97" fmla="*/ 64 h 158"/>
                  <a:gd name="T98" fmla="*/ 79 w 158"/>
                  <a:gd name="T99" fmla="*/ 127 h 158"/>
                  <a:gd name="T100" fmla="*/ 32 w 158"/>
                  <a:gd name="T101" fmla="*/ 79 h 158"/>
                  <a:gd name="T102" fmla="*/ 79 w 158"/>
                  <a:gd name="T103" fmla="*/ 31 h 158"/>
                  <a:gd name="T104" fmla="*/ 127 w 158"/>
                  <a:gd name="T105" fmla="*/ 79 h 158"/>
                  <a:gd name="T106" fmla="*/ 79 w 158"/>
                  <a:gd name="T107" fmla="*/ 127 h 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58" h="158">
                    <a:moveTo>
                      <a:pt x="151" y="64"/>
                    </a:moveTo>
                    <a:cubicBezTo>
                      <a:pt x="137" y="60"/>
                      <a:pt x="137" y="60"/>
                      <a:pt x="137" y="60"/>
                    </a:cubicBezTo>
                    <a:cubicBezTo>
                      <a:pt x="136" y="57"/>
                      <a:pt x="135" y="54"/>
                      <a:pt x="133" y="51"/>
                    </a:cubicBezTo>
                    <a:cubicBezTo>
                      <a:pt x="141" y="39"/>
                      <a:pt x="141" y="39"/>
                      <a:pt x="141" y="39"/>
                    </a:cubicBezTo>
                    <a:cubicBezTo>
                      <a:pt x="143" y="35"/>
                      <a:pt x="142" y="30"/>
                      <a:pt x="139" y="26"/>
                    </a:cubicBezTo>
                    <a:cubicBezTo>
                      <a:pt x="132" y="19"/>
                      <a:pt x="132" y="19"/>
                      <a:pt x="132" y="19"/>
                    </a:cubicBezTo>
                    <a:cubicBezTo>
                      <a:pt x="129" y="16"/>
                      <a:pt x="123" y="15"/>
                      <a:pt x="119" y="18"/>
                    </a:cubicBezTo>
                    <a:cubicBezTo>
                      <a:pt x="107" y="25"/>
                      <a:pt x="107" y="25"/>
                      <a:pt x="107" y="25"/>
                    </a:cubicBezTo>
                    <a:cubicBezTo>
                      <a:pt x="104" y="23"/>
                      <a:pt x="101" y="22"/>
                      <a:pt x="98" y="21"/>
                    </a:cubicBezTo>
                    <a:cubicBezTo>
                      <a:pt x="95" y="7"/>
                      <a:pt x="95" y="7"/>
                      <a:pt x="95" y="7"/>
                    </a:cubicBezTo>
                    <a:cubicBezTo>
                      <a:pt x="93" y="3"/>
                      <a:pt x="89" y="0"/>
                      <a:pt x="84" y="0"/>
                    </a:cubicBezTo>
                    <a:cubicBezTo>
                      <a:pt x="74" y="0"/>
                      <a:pt x="74" y="0"/>
                      <a:pt x="74" y="0"/>
                    </a:cubicBezTo>
                    <a:cubicBezTo>
                      <a:pt x="70" y="0"/>
                      <a:pt x="66" y="3"/>
                      <a:pt x="64" y="7"/>
                    </a:cubicBezTo>
                    <a:cubicBezTo>
                      <a:pt x="61" y="21"/>
                      <a:pt x="61" y="21"/>
                      <a:pt x="61" y="21"/>
                    </a:cubicBezTo>
                    <a:cubicBezTo>
                      <a:pt x="58" y="22"/>
                      <a:pt x="55" y="23"/>
                      <a:pt x="52" y="25"/>
                    </a:cubicBezTo>
                    <a:cubicBezTo>
                      <a:pt x="40" y="18"/>
                      <a:pt x="40" y="18"/>
                      <a:pt x="40" y="18"/>
                    </a:cubicBezTo>
                    <a:cubicBezTo>
                      <a:pt x="36" y="15"/>
                      <a:pt x="30" y="16"/>
                      <a:pt x="27" y="19"/>
                    </a:cubicBezTo>
                    <a:cubicBezTo>
                      <a:pt x="20" y="26"/>
                      <a:pt x="20" y="26"/>
                      <a:pt x="20" y="26"/>
                    </a:cubicBezTo>
                    <a:cubicBezTo>
                      <a:pt x="17" y="30"/>
                      <a:pt x="16" y="35"/>
                      <a:pt x="18" y="39"/>
                    </a:cubicBezTo>
                    <a:cubicBezTo>
                      <a:pt x="26" y="51"/>
                      <a:pt x="26" y="51"/>
                      <a:pt x="26" y="51"/>
                    </a:cubicBezTo>
                    <a:cubicBezTo>
                      <a:pt x="24" y="54"/>
                      <a:pt x="23" y="57"/>
                      <a:pt x="22" y="60"/>
                    </a:cubicBezTo>
                    <a:cubicBezTo>
                      <a:pt x="8" y="64"/>
                      <a:pt x="8" y="64"/>
                      <a:pt x="8" y="64"/>
                    </a:cubicBezTo>
                    <a:cubicBezTo>
                      <a:pt x="4" y="65"/>
                      <a:pt x="0" y="69"/>
                      <a:pt x="0" y="74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0" y="88"/>
                      <a:pt x="4" y="93"/>
                      <a:pt x="8" y="94"/>
                    </a:cubicBezTo>
                    <a:cubicBezTo>
                      <a:pt x="22" y="98"/>
                      <a:pt x="22" y="98"/>
                      <a:pt x="22" y="98"/>
                    </a:cubicBezTo>
                    <a:cubicBezTo>
                      <a:pt x="23" y="100"/>
                      <a:pt x="24" y="103"/>
                      <a:pt x="26" y="106"/>
                    </a:cubicBezTo>
                    <a:cubicBezTo>
                      <a:pt x="18" y="118"/>
                      <a:pt x="18" y="118"/>
                      <a:pt x="18" y="118"/>
                    </a:cubicBezTo>
                    <a:cubicBezTo>
                      <a:pt x="16" y="122"/>
                      <a:pt x="17" y="128"/>
                      <a:pt x="20" y="131"/>
                    </a:cubicBezTo>
                    <a:cubicBezTo>
                      <a:pt x="27" y="138"/>
                      <a:pt x="27" y="138"/>
                      <a:pt x="27" y="138"/>
                    </a:cubicBezTo>
                    <a:cubicBezTo>
                      <a:pt x="30" y="141"/>
                      <a:pt x="36" y="142"/>
                      <a:pt x="40" y="140"/>
                    </a:cubicBezTo>
                    <a:cubicBezTo>
                      <a:pt x="52" y="133"/>
                      <a:pt x="52" y="133"/>
                      <a:pt x="52" y="133"/>
                    </a:cubicBezTo>
                    <a:cubicBezTo>
                      <a:pt x="55" y="134"/>
                      <a:pt x="58" y="135"/>
                      <a:pt x="61" y="136"/>
                    </a:cubicBezTo>
                    <a:cubicBezTo>
                      <a:pt x="64" y="150"/>
                      <a:pt x="64" y="150"/>
                      <a:pt x="64" y="150"/>
                    </a:cubicBezTo>
                    <a:cubicBezTo>
                      <a:pt x="66" y="154"/>
                      <a:pt x="70" y="158"/>
                      <a:pt x="74" y="158"/>
                    </a:cubicBezTo>
                    <a:cubicBezTo>
                      <a:pt x="84" y="158"/>
                      <a:pt x="84" y="158"/>
                      <a:pt x="84" y="158"/>
                    </a:cubicBezTo>
                    <a:cubicBezTo>
                      <a:pt x="89" y="158"/>
                      <a:pt x="93" y="154"/>
                      <a:pt x="95" y="150"/>
                    </a:cubicBezTo>
                    <a:cubicBezTo>
                      <a:pt x="98" y="136"/>
                      <a:pt x="98" y="136"/>
                      <a:pt x="98" y="136"/>
                    </a:cubicBezTo>
                    <a:cubicBezTo>
                      <a:pt x="101" y="135"/>
                      <a:pt x="104" y="134"/>
                      <a:pt x="107" y="133"/>
                    </a:cubicBezTo>
                    <a:cubicBezTo>
                      <a:pt x="119" y="140"/>
                      <a:pt x="119" y="140"/>
                      <a:pt x="119" y="140"/>
                    </a:cubicBezTo>
                    <a:cubicBezTo>
                      <a:pt x="123" y="142"/>
                      <a:pt x="129" y="141"/>
                      <a:pt x="132" y="138"/>
                    </a:cubicBezTo>
                    <a:cubicBezTo>
                      <a:pt x="139" y="131"/>
                      <a:pt x="139" y="131"/>
                      <a:pt x="139" y="131"/>
                    </a:cubicBezTo>
                    <a:cubicBezTo>
                      <a:pt x="142" y="128"/>
                      <a:pt x="143" y="122"/>
                      <a:pt x="141" y="118"/>
                    </a:cubicBezTo>
                    <a:cubicBezTo>
                      <a:pt x="133" y="106"/>
                      <a:pt x="133" y="106"/>
                      <a:pt x="133" y="106"/>
                    </a:cubicBezTo>
                    <a:cubicBezTo>
                      <a:pt x="135" y="103"/>
                      <a:pt x="136" y="100"/>
                      <a:pt x="137" y="98"/>
                    </a:cubicBezTo>
                    <a:cubicBezTo>
                      <a:pt x="151" y="94"/>
                      <a:pt x="151" y="94"/>
                      <a:pt x="151" y="94"/>
                    </a:cubicBezTo>
                    <a:cubicBezTo>
                      <a:pt x="155" y="93"/>
                      <a:pt x="158" y="88"/>
                      <a:pt x="158" y="84"/>
                    </a:cubicBezTo>
                    <a:cubicBezTo>
                      <a:pt x="158" y="74"/>
                      <a:pt x="158" y="74"/>
                      <a:pt x="158" y="74"/>
                    </a:cubicBezTo>
                    <a:cubicBezTo>
                      <a:pt x="158" y="69"/>
                      <a:pt x="155" y="65"/>
                      <a:pt x="151" y="64"/>
                    </a:cubicBezTo>
                    <a:close/>
                    <a:moveTo>
                      <a:pt x="79" y="127"/>
                    </a:moveTo>
                    <a:cubicBezTo>
                      <a:pt x="53" y="127"/>
                      <a:pt x="32" y="105"/>
                      <a:pt x="32" y="79"/>
                    </a:cubicBezTo>
                    <a:cubicBezTo>
                      <a:pt x="32" y="52"/>
                      <a:pt x="53" y="31"/>
                      <a:pt x="79" y="31"/>
                    </a:cubicBezTo>
                    <a:cubicBezTo>
                      <a:pt x="106" y="31"/>
                      <a:pt x="127" y="52"/>
                      <a:pt x="127" y="79"/>
                    </a:cubicBezTo>
                    <a:cubicBezTo>
                      <a:pt x="127" y="105"/>
                      <a:pt x="106" y="127"/>
                      <a:pt x="79" y="127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29" name="Oval 28">
                <a:extLst>
                  <a:ext uri="{FF2B5EF4-FFF2-40B4-BE49-F238E27FC236}">
                    <a16:creationId xmlns:a16="http://schemas.microsoft.com/office/drawing/2014/main" id="{7BE466A1-292A-6DA0-A598-09B4192D5FF1}"/>
                  </a:ext>
                </a:extLst>
              </p:cNvPr>
              <p:cNvSpPr/>
              <p:nvPr/>
            </p:nvSpPr>
            <p:spPr>
              <a:xfrm>
                <a:off x="604542" y="1977953"/>
                <a:ext cx="538458" cy="538458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sp>
          <p:nvSpPr>
            <p:cNvPr id="27" name="Freeform 99">
              <a:extLst>
                <a:ext uri="{FF2B5EF4-FFF2-40B4-BE49-F238E27FC236}">
                  <a16:creationId xmlns:a16="http://schemas.microsoft.com/office/drawing/2014/main" id="{3658258F-C81F-4507-E3BA-F414C5D2E7A2}"/>
                </a:ext>
              </a:extLst>
            </p:cNvPr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741792" y="2365046"/>
              <a:ext cx="345852" cy="305232"/>
            </a:xfrm>
            <a:custGeom>
              <a:avLst/>
              <a:gdLst>
                <a:gd name="T0" fmla="*/ 3040 w 3040"/>
                <a:gd name="T1" fmla="*/ 109 h 2884"/>
                <a:gd name="T2" fmla="*/ 2860 w 3040"/>
                <a:gd name="T3" fmla="*/ 256 h 2884"/>
                <a:gd name="T4" fmla="*/ 2673 w 3040"/>
                <a:gd name="T5" fmla="*/ 428 h 2884"/>
                <a:gd name="T6" fmla="*/ 2479 w 3040"/>
                <a:gd name="T7" fmla="*/ 627 h 2884"/>
                <a:gd name="T8" fmla="*/ 2277 w 3040"/>
                <a:gd name="T9" fmla="*/ 853 h 2884"/>
                <a:gd name="T10" fmla="*/ 2067 w 3040"/>
                <a:gd name="T11" fmla="*/ 1106 h 2884"/>
                <a:gd name="T12" fmla="*/ 1926 w 3040"/>
                <a:gd name="T13" fmla="*/ 1287 h 2884"/>
                <a:gd name="T14" fmla="*/ 1727 w 3040"/>
                <a:gd name="T15" fmla="*/ 1556 h 2884"/>
                <a:gd name="T16" fmla="*/ 1546 w 3040"/>
                <a:gd name="T17" fmla="*/ 1819 h 2884"/>
                <a:gd name="T18" fmla="*/ 1385 w 3040"/>
                <a:gd name="T19" fmla="*/ 2076 h 2884"/>
                <a:gd name="T20" fmla="*/ 1243 w 3040"/>
                <a:gd name="T21" fmla="*/ 2324 h 2884"/>
                <a:gd name="T22" fmla="*/ 1120 w 3040"/>
                <a:gd name="T23" fmla="*/ 2567 h 2884"/>
                <a:gd name="T24" fmla="*/ 865 w 3040"/>
                <a:gd name="T25" fmla="*/ 2741 h 2884"/>
                <a:gd name="T26" fmla="*/ 704 w 3040"/>
                <a:gd name="T27" fmla="*/ 2867 h 2884"/>
                <a:gd name="T28" fmla="*/ 675 w 3040"/>
                <a:gd name="T29" fmla="*/ 2856 h 2884"/>
                <a:gd name="T30" fmla="*/ 603 w 3040"/>
                <a:gd name="T31" fmla="*/ 2655 h 2884"/>
                <a:gd name="T32" fmla="*/ 498 w 3040"/>
                <a:gd name="T33" fmla="*/ 2404 h 2884"/>
                <a:gd name="T34" fmla="*/ 401 w 3040"/>
                <a:gd name="T35" fmla="*/ 2197 h 2884"/>
                <a:gd name="T36" fmla="*/ 311 w 3040"/>
                <a:gd name="T37" fmla="*/ 2034 h 2884"/>
                <a:gd name="T38" fmla="*/ 253 w 3040"/>
                <a:gd name="T39" fmla="*/ 1950 h 2884"/>
                <a:gd name="T40" fmla="*/ 164 w 3040"/>
                <a:gd name="T41" fmla="*/ 1855 h 2884"/>
                <a:gd name="T42" fmla="*/ 69 w 3040"/>
                <a:gd name="T43" fmla="*/ 1786 h 2884"/>
                <a:gd name="T44" fmla="*/ 0 w 3040"/>
                <a:gd name="T45" fmla="*/ 1757 h 2884"/>
                <a:gd name="T46" fmla="*/ 87 w 3040"/>
                <a:gd name="T47" fmla="*/ 1672 h 2884"/>
                <a:gd name="T48" fmla="*/ 172 w 3040"/>
                <a:gd name="T49" fmla="*/ 1605 h 2884"/>
                <a:gd name="T50" fmla="*/ 254 w 3040"/>
                <a:gd name="T51" fmla="*/ 1555 h 2884"/>
                <a:gd name="T52" fmla="*/ 332 w 3040"/>
                <a:gd name="T53" fmla="*/ 1523 h 2884"/>
                <a:gd name="T54" fmla="*/ 409 w 3040"/>
                <a:gd name="T55" fmla="*/ 1508 h 2884"/>
                <a:gd name="T56" fmla="*/ 444 w 3040"/>
                <a:gd name="T57" fmla="*/ 1507 h 2884"/>
                <a:gd name="T58" fmla="*/ 476 w 3040"/>
                <a:gd name="T59" fmla="*/ 1513 h 2884"/>
                <a:gd name="T60" fmla="*/ 543 w 3040"/>
                <a:gd name="T61" fmla="*/ 1551 h 2884"/>
                <a:gd name="T62" fmla="*/ 612 w 3040"/>
                <a:gd name="T63" fmla="*/ 1621 h 2884"/>
                <a:gd name="T64" fmla="*/ 683 w 3040"/>
                <a:gd name="T65" fmla="*/ 1723 h 2884"/>
                <a:gd name="T66" fmla="*/ 757 w 3040"/>
                <a:gd name="T67" fmla="*/ 1858 h 2884"/>
                <a:gd name="T68" fmla="*/ 877 w 3040"/>
                <a:gd name="T69" fmla="*/ 2117 h 2884"/>
                <a:gd name="T70" fmla="*/ 973 w 3040"/>
                <a:gd name="T71" fmla="*/ 1963 h 2884"/>
                <a:gd name="T72" fmla="*/ 1129 w 3040"/>
                <a:gd name="T73" fmla="*/ 1731 h 2884"/>
                <a:gd name="T74" fmla="*/ 1299 w 3040"/>
                <a:gd name="T75" fmla="*/ 1503 h 2884"/>
                <a:gd name="T76" fmla="*/ 1485 w 3040"/>
                <a:gd name="T77" fmla="*/ 1277 h 2884"/>
                <a:gd name="T78" fmla="*/ 1685 w 3040"/>
                <a:gd name="T79" fmla="*/ 1052 h 2884"/>
                <a:gd name="T80" fmla="*/ 1828 w 3040"/>
                <a:gd name="T81" fmla="*/ 904 h 2884"/>
                <a:gd name="T82" fmla="*/ 2045 w 3040"/>
                <a:gd name="T83" fmla="*/ 693 h 2884"/>
                <a:gd name="T84" fmla="*/ 2260 w 3040"/>
                <a:gd name="T85" fmla="*/ 502 h 2884"/>
                <a:gd name="T86" fmla="*/ 2474 w 3040"/>
                <a:gd name="T87" fmla="*/ 328 h 2884"/>
                <a:gd name="T88" fmla="*/ 2685 w 3040"/>
                <a:gd name="T89" fmla="*/ 175 h 2884"/>
                <a:gd name="T90" fmla="*/ 2893 w 3040"/>
                <a:gd name="T91" fmla="*/ 40 h 28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040" h="2884">
                  <a:moveTo>
                    <a:pt x="2963" y="0"/>
                  </a:moveTo>
                  <a:lnTo>
                    <a:pt x="3040" y="109"/>
                  </a:lnTo>
                  <a:lnTo>
                    <a:pt x="3040" y="109"/>
                  </a:lnTo>
                  <a:lnTo>
                    <a:pt x="2981" y="155"/>
                  </a:lnTo>
                  <a:lnTo>
                    <a:pt x="2922" y="203"/>
                  </a:lnTo>
                  <a:lnTo>
                    <a:pt x="2860" y="256"/>
                  </a:lnTo>
                  <a:lnTo>
                    <a:pt x="2799" y="309"/>
                  </a:lnTo>
                  <a:lnTo>
                    <a:pt x="2736" y="367"/>
                  </a:lnTo>
                  <a:lnTo>
                    <a:pt x="2673" y="428"/>
                  </a:lnTo>
                  <a:lnTo>
                    <a:pt x="2610" y="491"/>
                  </a:lnTo>
                  <a:lnTo>
                    <a:pt x="2545" y="557"/>
                  </a:lnTo>
                  <a:lnTo>
                    <a:pt x="2479" y="627"/>
                  </a:lnTo>
                  <a:lnTo>
                    <a:pt x="2413" y="699"/>
                  </a:lnTo>
                  <a:lnTo>
                    <a:pt x="2346" y="775"/>
                  </a:lnTo>
                  <a:lnTo>
                    <a:pt x="2277" y="853"/>
                  </a:lnTo>
                  <a:lnTo>
                    <a:pt x="2209" y="934"/>
                  </a:lnTo>
                  <a:lnTo>
                    <a:pt x="2139" y="1018"/>
                  </a:lnTo>
                  <a:lnTo>
                    <a:pt x="2067" y="1106"/>
                  </a:lnTo>
                  <a:lnTo>
                    <a:pt x="1996" y="1196"/>
                  </a:lnTo>
                  <a:lnTo>
                    <a:pt x="1996" y="1196"/>
                  </a:lnTo>
                  <a:lnTo>
                    <a:pt x="1926" y="1287"/>
                  </a:lnTo>
                  <a:lnTo>
                    <a:pt x="1858" y="1377"/>
                  </a:lnTo>
                  <a:lnTo>
                    <a:pt x="1790" y="1468"/>
                  </a:lnTo>
                  <a:lnTo>
                    <a:pt x="1727" y="1556"/>
                  </a:lnTo>
                  <a:lnTo>
                    <a:pt x="1664" y="1645"/>
                  </a:lnTo>
                  <a:lnTo>
                    <a:pt x="1605" y="1733"/>
                  </a:lnTo>
                  <a:lnTo>
                    <a:pt x="1546" y="1819"/>
                  </a:lnTo>
                  <a:lnTo>
                    <a:pt x="1490" y="1905"/>
                  </a:lnTo>
                  <a:lnTo>
                    <a:pt x="1437" y="1991"/>
                  </a:lnTo>
                  <a:lnTo>
                    <a:pt x="1385" y="2076"/>
                  </a:lnTo>
                  <a:lnTo>
                    <a:pt x="1336" y="2159"/>
                  </a:lnTo>
                  <a:lnTo>
                    <a:pt x="1289" y="2242"/>
                  </a:lnTo>
                  <a:lnTo>
                    <a:pt x="1243" y="2324"/>
                  </a:lnTo>
                  <a:lnTo>
                    <a:pt x="1200" y="2405"/>
                  </a:lnTo>
                  <a:lnTo>
                    <a:pt x="1160" y="2486"/>
                  </a:lnTo>
                  <a:lnTo>
                    <a:pt x="1120" y="2567"/>
                  </a:lnTo>
                  <a:lnTo>
                    <a:pt x="958" y="2676"/>
                  </a:lnTo>
                  <a:lnTo>
                    <a:pt x="958" y="2676"/>
                  </a:lnTo>
                  <a:lnTo>
                    <a:pt x="865" y="2741"/>
                  </a:lnTo>
                  <a:lnTo>
                    <a:pt x="788" y="2798"/>
                  </a:lnTo>
                  <a:lnTo>
                    <a:pt x="728" y="2845"/>
                  </a:lnTo>
                  <a:lnTo>
                    <a:pt x="704" y="2867"/>
                  </a:lnTo>
                  <a:lnTo>
                    <a:pt x="683" y="2884"/>
                  </a:lnTo>
                  <a:lnTo>
                    <a:pt x="683" y="2884"/>
                  </a:lnTo>
                  <a:lnTo>
                    <a:pt x="675" y="2856"/>
                  </a:lnTo>
                  <a:lnTo>
                    <a:pt x="666" y="2825"/>
                  </a:lnTo>
                  <a:lnTo>
                    <a:pt x="639" y="2748"/>
                  </a:lnTo>
                  <a:lnTo>
                    <a:pt x="603" y="2655"/>
                  </a:lnTo>
                  <a:lnTo>
                    <a:pt x="560" y="2546"/>
                  </a:lnTo>
                  <a:lnTo>
                    <a:pt x="498" y="2404"/>
                  </a:lnTo>
                  <a:lnTo>
                    <a:pt x="498" y="2404"/>
                  </a:lnTo>
                  <a:lnTo>
                    <a:pt x="465" y="2330"/>
                  </a:lnTo>
                  <a:lnTo>
                    <a:pt x="433" y="2261"/>
                  </a:lnTo>
                  <a:lnTo>
                    <a:pt x="401" y="2197"/>
                  </a:lnTo>
                  <a:lnTo>
                    <a:pt x="371" y="2137"/>
                  </a:lnTo>
                  <a:lnTo>
                    <a:pt x="340" y="2084"/>
                  </a:lnTo>
                  <a:lnTo>
                    <a:pt x="311" y="2034"/>
                  </a:lnTo>
                  <a:lnTo>
                    <a:pt x="281" y="1991"/>
                  </a:lnTo>
                  <a:lnTo>
                    <a:pt x="253" y="1950"/>
                  </a:lnTo>
                  <a:lnTo>
                    <a:pt x="253" y="1950"/>
                  </a:lnTo>
                  <a:lnTo>
                    <a:pt x="225" y="1915"/>
                  </a:lnTo>
                  <a:lnTo>
                    <a:pt x="195" y="1885"/>
                  </a:lnTo>
                  <a:lnTo>
                    <a:pt x="164" y="1855"/>
                  </a:lnTo>
                  <a:lnTo>
                    <a:pt x="133" y="1829"/>
                  </a:lnTo>
                  <a:lnTo>
                    <a:pt x="101" y="1807"/>
                  </a:lnTo>
                  <a:lnTo>
                    <a:pt x="69" y="1786"/>
                  </a:lnTo>
                  <a:lnTo>
                    <a:pt x="35" y="1770"/>
                  </a:lnTo>
                  <a:lnTo>
                    <a:pt x="0" y="1757"/>
                  </a:lnTo>
                  <a:lnTo>
                    <a:pt x="0" y="1757"/>
                  </a:lnTo>
                  <a:lnTo>
                    <a:pt x="30" y="1726"/>
                  </a:lnTo>
                  <a:lnTo>
                    <a:pt x="59" y="1698"/>
                  </a:lnTo>
                  <a:lnTo>
                    <a:pt x="87" y="1672"/>
                  </a:lnTo>
                  <a:lnTo>
                    <a:pt x="116" y="1646"/>
                  </a:lnTo>
                  <a:lnTo>
                    <a:pt x="144" y="1625"/>
                  </a:lnTo>
                  <a:lnTo>
                    <a:pt x="172" y="1605"/>
                  </a:lnTo>
                  <a:lnTo>
                    <a:pt x="199" y="1586"/>
                  </a:lnTo>
                  <a:lnTo>
                    <a:pt x="227" y="1568"/>
                  </a:lnTo>
                  <a:lnTo>
                    <a:pt x="254" y="1555"/>
                  </a:lnTo>
                  <a:lnTo>
                    <a:pt x="281" y="1542"/>
                  </a:lnTo>
                  <a:lnTo>
                    <a:pt x="307" y="1531"/>
                  </a:lnTo>
                  <a:lnTo>
                    <a:pt x="332" y="1523"/>
                  </a:lnTo>
                  <a:lnTo>
                    <a:pt x="359" y="1516"/>
                  </a:lnTo>
                  <a:lnTo>
                    <a:pt x="385" y="1511"/>
                  </a:lnTo>
                  <a:lnTo>
                    <a:pt x="409" y="1508"/>
                  </a:lnTo>
                  <a:lnTo>
                    <a:pt x="434" y="1507"/>
                  </a:lnTo>
                  <a:lnTo>
                    <a:pt x="434" y="1507"/>
                  </a:lnTo>
                  <a:lnTo>
                    <a:pt x="444" y="1507"/>
                  </a:lnTo>
                  <a:lnTo>
                    <a:pt x="455" y="1508"/>
                  </a:lnTo>
                  <a:lnTo>
                    <a:pt x="465" y="1511"/>
                  </a:lnTo>
                  <a:lnTo>
                    <a:pt x="476" y="1513"/>
                  </a:lnTo>
                  <a:lnTo>
                    <a:pt x="499" y="1523"/>
                  </a:lnTo>
                  <a:lnTo>
                    <a:pt x="521" y="1535"/>
                  </a:lnTo>
                  <a:lnTo>
                    <a:pt x="543" y="1551"/>
                  </a:lnTo>
                  <a:lnTo>
                    <a:pt x="566" y="1571"/>
                  </a:lnTo>
                  <a:lnTo>
                    <a:pt x="589" y="1594"/>
                  </a:lnTo>
                  <a:lnTo>
                    <a:pt x="612" y="1621"/>
                  </a:lnTo>
                  <a:lnTo>
                    <a:pt x="636" y="1652"/>
                  </a:lnTo>
                  <a:lnTo>
                    <a:pt x="659" y="1685"/>
                  </a:lnTo>
                  <a:lnTo>
                    <a:pt x="683" y="1723"/>
                  </a:lnTo>
                  <a:lnTo>
                    <a:pt x="708" y="1763"/>
                  </a:lnTo>
                  <a:lnTo>
                    <a:pt x="733" y="1809"/>
                  </a:lnTo>
                  <a:lnTo>
                    <a:pt x="757" y="1858"/>
                  </a:lnTo>
                  <a:lnTo>
                    <a:pt x="783" y="1909"/>
                  </a:lnTo>
                  <a:lnTo>
                    <a:pt x="808" y="1964"/>
                  </a:lnTo>
                  <a:lnTo>
                    <a:pt x="877" y="2117"/>
                  </a:lnTo>
                  <a:lnTo>
                    <a:pt x="877" y="2117"/>
                  </a:lnTo>
                  <a:lnTo>
                    <a:pt x="924" y="2039"/>
                  </a:lnTo>
                  <a:lnTo>
                    <a:pt x="973" y="1963"/>
                  </a:lnTo>
                  <a:lnTo>
                    <a:pt x="1024" y="1885"/>
                  </a:lnTo>
                  <a:lnTo>
                    <a:pt x="1075" y="1808"/>
                  </a:lnTo>
                  <a:lnTo>
                    <a:pt x="1129" y="1731"/>
                  </a:lnTo>
                  <a:lnTo>
                    <a:pt x="1184" y="1655"/>
                  </a:lnTo>
                  <a:lnTo>
                    <a:pt x="1242" y="1578"/>
                  </a:lnTo>
                  <a:lnTo>
                    <a:pt x="1299" y="1503"/>
                  </a:lnTo>
                  <a:lnTo>
                    <a:pt x="1360" y="1427"/>
                  </a:lnTo>
                  <a:lnTo>
                    <a:pt x="1422" y="1351"/>
                  </a:lnTo>
                  <a:lnTo>
                    <a:pt x="1485" y="1277"/>
                  </a:lnTo>
                  <a:lnTo>
                    <a:pt x="1551" y="1201"/>
                  </a:lnTo>
                  <a:lnTo>
                    <a:pt x="1618" y="1127"/>
                  </a:lnTo>
                  <a:lnTo>
                    <a:pt x="1685" y="1052"/>
                  </a:lnTo>
                  <a:lnTo>
                    <a:pt x="1757" y="978"/>
                  </a:lnTo>
                  <a:lnTo>
                    <a:pt x="1828" y="904"/>
                  </a:lnTo>
                  <a:lnTo>
                    <a:pt x="1828" y="904"/>
                  </a:lnTo>
                  <a:lnTo>
                    <a:pt x="1901" y="831"/>
                  </a:lnTo>
                  <a:lnTo>
                    <a:pt x="1973" y="761"/>
                  </a:lnTo>
                  <a:lnTo>
                    <a:pt x="2045" y="693"/>
                  </a:lnTo>
                  <a:lnTo>
                    <a:pt x="2117" y="627"/>
                  </a:lnTo>
                  <a:lnTo>
                    <a:pt x="2189" y="564"/>
                  </a:lnTo>
                  <a:lnTo>
                    <a:pt x="2260" y="502"/>
                  </a:lnTo>
                  <a:lnTo>
                    <a:pt x="2331" y="441"/>
                  </a:lnTo>
                  <a:lnTo>
                    <a:pt x="2402" y="383"/>
                  </a:lnTo>
                  <a:lnTo>
                    <a:pt x="2474" y="328"/>
                  </a:lnTo>
                  <a:lnTo>
                    <a:pt x="2544" y="274"/>
                  </a:lnTo>
                  <a:lnTo>
                    <a:pt x="2614" y="223"/>
                  </a:lnTo>
                  <a:lnTo>
                    <a:pt x="2685" y="175"/>
                  </a:lnTo>
                  <a:lnTo>
                    <a:pt x="2755" y="128"/>
                  </a:lnTo>
                  <a:lnTo>
                    <a:pt x="2825" y="83"/>
                  </a:lnTo>
                  <a:lnTo>
                    <a:pt x="2893" y="40"/>
                  </a:lnTo>
                  <a:lnTo>
                    <a:pt x="2963" y="0"/>
                  </a:lnTo>
                  <a:lnTo>
                    <a:pt x="2963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68576" tIns="34288" rIns="68576" bIns="3428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2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4042389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1bde1rqkOrYkvEutVTF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1bde1rqkOrYkvEutVTF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1bde1rqkOrYkvEutVTF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1bde1rqkOrYkvEutVTFw"/>
</p:tagLst>
</file>

<file path=ppt/theme/theme1.xml><?xml version="1.0" encoding="utf-8"?>
<a:theme xmlns:a="http://schemas.openxmlformats.org/drawingml/2006/main" name="Office Theme">
  <a:themeElements>
    <a:clrScheme name="Custom 116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3902"/>
      </a:accent1>
      <a:accent2>
        <a:srgbClr val="FF8007"/>
      </a:accent2>
      <a:accent3>
        <a:srgbClr val="FFB404"/>
      </a:accent3>
      <a:accent4>
        <a:srgbClr val="05BADD"/>
      </a:accent4>
      <a:accent5>
        <a:srgbClr val="2B4871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659</TotalTime>
  <Words>14</Words>
  <Application>Microsoft Office PowerPoint</Application>
  <PresentationFormat>Widescreen</PresentationFormat>
  <Paragraphs>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Tex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662</cp:revision>
  <dcterms:created xsi:type="dcterms:W3CDTF">2021-03-31T02:49:57Z</dcterms:created>
  <dcterms:modified xsi:type="dcterms:W3CDTF">2025-10-15T02:39:08Z</dcterms:modified>
  <cp:category/>
</cp:coreProperties>
</file>